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3" r:id="rId5"/>
    <p:sldMasterId id="2147483715" r:id="rId6"/>
    <p:sldMasterId id="2147483744" r:id="rId7"/>
    <p:sldMasterId id="2147483755" r:id="rId8"/>
    <p:sldMasterId id="2147483772" r:id="rId9"/>
    <p:sldMasterId id="2147483785" r:id="rId10"/>
  </p:sldMasterIdLst>
  <p:notesMasterIdLst>
    <p:notesMasterId r:id="rId47"/>
  </p:notesMasterIdLst>
  <p:sldIdLst>
    <p:sldId id="2147481546" r:id="rId11"/>
    <p:sldId id="2147481649" r:id="rId12"/>
    <p:sldId id="2147481662" r:id="rId13"/>
    <p:sldId id="2147481617" r:id="rId14"/>
    <p:sldId id="2147481612" r:id="rId15"/>
    <p:sldId id="271" r:id="rId16"/>
    <p:sldId id="2147481622" r:id="rId17"/>
    <p:sldId id="2147481598" r:id="rId18"/>
    <p:sldId id="2147481664" r:id="rId19"/>
    <p:sldId id="2147481626" r:id="rId20"/>
    <p:sldId id="2147481676" r:id="rId21"/>
    <p:sldId id="2147481639" r:id="rId22"/>
    <p:sldId id="2147481665" r:id="rId23"/>
    <p:sldId id="2147481644" r:id="rId24"/>
    <p:sldId id="2147481655" r:id="rId25"/>
    <p:sldId id="2147481670" r:id="rId26"/>
    <p:sldId id="2147481610" r:id="rId27"/>
    <p:sldId id="2147481650" r:id="rId28"/>
    <p:sldId id="2147481663" r:id="rId29"/>
    <p:sldId id="2147481652" r:id="rId30"/>
    <p:sldId id="2147481668" r:id="rId31"/>
    <p:sldId id="2147481667" r:id="rId32"/>
    <p:sldId id="2147481669" r:id="rId33"/>
    <p:sldId id="2147481653" r:id="rId34"/>
    <p:sldId id="2147481674" r:id="rId35"/>
    <p:sldId id="2147481651" r:id="rId36"/>
    <p:sldId id="2147481671" r:id="rId37"/>
    <p:sldId id="2147481672" r:id="rId38"/>
    <p:sldId id="2147481666" r:id="rId39"/>
    <p:sldId id="2147481675" r:id="rId40"/>
    <p:sldId id="2147481673" r:id="rId41"/>
    <p:sldId id="2147481677" r:id="rId42"/>
    <p:sldId id="2147481647" r:id="rId43"/>
    <p:sldId id="2147481627" r:id="rId44"/>
    <p:sldId id="2147481642" r:id="rId45"/>
    <p:sldId id="2147481648" r:id="rId46"/>
  </p:sldIdLst>
  <p:sldSz cx="12192000" cy="6858000"/>
  <p:notesSz cx="9309100" cy="70231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0C0302-2FAB-DBA6-3048-A04F3E7CDEF9}" name="Tisinger, Katherine M." initials="TKM" userId="S::katherine.m.tisinger@accenture.com::01e562b7-f58e-47a5-93dd-8dd99b5126d4" providerId="AD"/>
  <p188:author id="{9703A506-E9C5-75EF-E50E-E915A37ED199}" name="Ordway, Alysia M (EOL)" initials="OAM(" userId="S::Alysia.M.Ordway@mass.gov::397ec4ef-180d-4b35-88e2-00d8f30a1fdd" providerId="AD"/>
  <p188:author id="{BD284211-9147-8805-905A-4D3FC9936415}" name="Thompson, Chris (EOHLC)" initials="TC(" userId="S::Chris.Thompson@mass.gov::430a30b9-3c8b-4eae-98fa-52fd2b39fea5" providerId="AD"/>
  <p188:author id="{71ED2012-A76C-234C-89E8-92F42C04D94B}" name="Venguer, Nicole (A&amp;F)" initials="VN(" userId="S::Nicole.Venguer@mass.gov::cd936947-338e-46e3-89ec-0bf8cee7be15" providerId="AD"/>
  <p188:author id="{A390DF14-4632-B625-89BC-3AED350937E0}" name="Laura" initials="L" userId="S::Laura.Hernandez2@mass.gov::d67d64e5-c664-4cc6-afce-aec683e55331" providerId="AD"/>
  <p188:author id="{9752AE1A-BD6E-C802-793E-6B450C9BDE1C}" name="Stone, Ben (EOHLC)" initials="S(" userId="S::ben.stone@mass.gov::0f424737-e0a8-485e-8b2b-d868465df3b2" providerId="AD"/>
  <p188:author id="{C9896D1B-86DE-1318-FB51-49A7ECAECA8E}" name="Stitely, Amy (EOHLC)" initials="AS" userId="S::amy.stitely@mass.gov::8760cb38-3584-482c-9a32-a9a96f11ca98" providerId="AD"/>
  <p188:author id="{8040E61C-ADA3-67E0-F8CE-1358CBF55380}" name="Basheer, Aditya W. (A&amp;F)" initials="B(" userId="S::aditya.w.basheer@mass.gov::bcde0754-384d-47eb-b387-c9ec5e4f4c2c" providerId="AD"/>
  <p188:author id="{7C84BC23-7606-A714-FE67-E5D2D8113D2C}" name="Brown, Ken (EOL)" initials="B(" userId="S::ken.brown@mass.gov::a46f0b82-c76d-4285-bb7f-83ee6ea21fd9" providerId="AD"/>
  <p188:author id="{02490925-4ED6-9E0D-A157-3346A3895A35}" name="Appugliese, Joanna M." initials="AJM" userId="S::joanna.m.appugliese@accenture.com::3f2b6825-0119-413b-a487-e681054144ec" providerId="AD"/>
  <p188:author id="{E2CC2A26-E4E1-7DF5-C338-AEF11CD49A32}" name="McGuill, Ryan" initials="RM" userId="S::ryan.mcguill@accenture.com::ccf76a90-746f-4857-acdd-f000bab08198" providerId="AD"/>
  <p188:author id="{29640527-08BC-1416-26DB-9144A7EA2CA2}" name="Marcus, Claire S." initials="MCS" userId="S::claire.s.marcus@accenture.com::15938662-5f1f-4d13-9d2e-664eaac8f32b" providerId="AD"/>
  <p188:author id="{C485672D-4A72-EE0F-6A3F-81454DAD2033}" name="Jhunjhunwala, Satakshi" initials="JS" userId="S::s.b.jhunjhunwala@accenture.com::73aa2983-4e99-483c-9305-1df3641f7675" providerId="AD"/>
  <p188:author id="{999C6D34-97F3-5A84-4A3A-062CE75B74CC}" name="Hobby, Imogen (A&amp;F)" initials="IH" userId="Hobby, Imogen (A&amp;F)" providerId="None"/>
  <p188:author id="{E6E21F38-ACC1-C8A5-A9B1-1C1E25560993}" name="Freire, Leandro (ORI)" initials="" userId="S::leandro.freire@mass.gov::c52f2563-044b-4198-9f4e-4ace32b10ab2" providerId="AD"/>
  <p188:author id="{AFEA8B3B-2D29-2683-F7B9-3E6C282ACC8A}" name="Tisinger, Katie (A&amp;F)" initials="T(" userId="S::katie.tisinger@mass.gov::b780e063-053f-4353-8f63-23391e333ac0" providerId="AD"/>
  <p188:author id="{0F91E23D-93BF-ADE6-C0CA-9BC9F0E04EC0}" name="Venguer, Nicole (A&amp;F)" initials="V(" userId="S::nicole.venguer@mass.gov::cd936947-338e-46e3-89ec-0bf8cee7be15" providerId="AD"/>
  <p188:author id="{5482C640-E923-C83E-4A99-D57CDC9328C0}" name="McElderry, Kristin" initials="MK" userId="S::kristin.mcelderry_accenture.com#ext#@massgov.onmicrosoft.com::f6da3f67-f840-4a29-a0c3-cbec3509cee2" providerId="AD"/>
  <p188:author id="{7473FA40-E9A5-924C-FC35-16C3552B636D}" name="Cohen, Jesse (EOHLC)" initials="CJ(" userId="S::Jesse.Cohen@mass.gov::de239717-22e7-44d6-95d4-dec19091c871" providerId="AD"/>
  <p188:author id="{B55FC044-89D0-79B5-5CBC-BA1B78A20711}" name="Diaz, Sara I (EOHLC)" initials="DSI(" userId="S::Sara.I.Diaz@mass.gov::b9f8e7e8-7e7c-47fd-9305-927bf442c409" providerId="AD"/>
  <p188:author id="{E2346748-F2C4-3E2E-8DDE-6BCC85675C89}" name="Sweezey, Tovah Miller (EOL)" initials="S(" userId="S::tovah.sweezey@mass.gov::f8936efe-bc2e-41b8-97f7-7c988ddcf264" providerId="AD"/>
  <p188:author id="{3B454952-4E37-7312-9CA3-3629BB032DF1}" name="Hernandez, Laura A." initials="HLA" userId="S::laura.a.hernandez@accenture.com::02d3e94e-d437-4535-a295-9e0c06160f69" providerId="AD"/>
  <p188:author id="{63C64B52-6821-BFA7-F3FF-6C39C4B58FD3}" name="Sharp, Catia Ruth (A&amp;F)" initials="S(" userId="S::catia.ruth.sharp@mass.gov::20f7adef-f264-4529-977d-46322722f69d" providerId="AD"/>
  <p188:author id="{67040557-585E-8F8E-3F2E-3D3A3B60BAF2}" name="Bovell-Ammon, Allison (EHS)" initials="BAA(" userId="S::Allison.Bovell-Ammon@mass.gov::da08f1d4-9db9-46ed-8dfd-818427b61db8" providerId="AD"/>
  <p188:author id="{8E353758-D134-1982-8DDD-55B4327444E4}" name="Sudireddy, Sreya R (EHS)" initials="S(" userId="S::sreya.r.sudireddy@mass.gov::a07ab04d-0796-4c7c-bab9-650357b189b1" providerId="AD"/>
  <p188:author id="{FE3E8167-173F-C812-5D28-992216DB6D87}" name="Diederich, Shelagh (A&amp;F)" initials="DS(" userId="S::Shelagh.Diederich2@mass.gov::54fccb50-901a-4a30-92db-18f5bbbe264e" providerId="AD"/>
  <p188:author id="{DA13AA68-32D4-8D32-8C81-7AE93149F216}" name="Mikulis, Rick (A&amp;F)" initials="RM" userId="S::Rick.Mikulis@mass.gov::daa515be-f107-473d-92de-4c1f2f39f7b0" providerId="AD"/>
  <p188:author id="{0ECC166B-59C4-47F2-B75C-3119A6D1FE35}" name="Thompson, Chris (EOHLC)" initials="T(" userId="S::chris.thompson@mass.gov::430a30b9-3c8b-4eae-98fa-52fd2b39fea5" providerId="AD"/>
  <p188:author id="{5D0B106C-19C5-C25D-CC22-1F2C9A8B4A47}" name="Rubin, Roberta (EOHLC)" initials="R(" userId="S::roberta.rubin@mass.gov::2cbd6095-3de4-4e08-a541-e182ee3ba991" providerId="AD"/>
  <p188:author id="{7D38A573-056E-60D3-8E60-1F2A5A13B5D1}" name="Sullivan, Dana C. (ANF)" initials="DCS" userId="Sullivan, Dana C. (ANF)" providerId="None"/>
  <p188:author id="{CDD38F76-2497-DBD2-892D-FACD879E40DD}" name="Church, Susan (ORI)" initials="SC" userId="S::Susan.Church@mass.gov::601a846d-7ef2-4430-80a2-97cd593c88fa" providerId="AD"/>
  <p188:author id="{C631F979-F338-EDEB-5F1D-2578B91121E3}" name="Attia, Mark (A&amp;F)" initials="A(" userId="S::mark.attia@mass.gov::4aeb8811-86d4-4fe3-aa7a-edc5a4bee0c3" providerId="AD"/>
  <p188:author id="{FF836E7A-769F-35DD-B24D-936756E9EFFD}" name="Ordway, Alysia M (EOL)" initials="O(" userId="S::alysia.m.ordway@mass.gov::397ec4ef-180d-4b35-88e2-00d8f30a1fdd" providerId="AD"/>
  <p188:author id="{06FE997A-EDA5-0730-2FB2-FEDDDB50AD9E}" name="Vargas, Anny M (ORI)" initials="AV" userId="S::Anny.M.Vargas@mass.gov::c1b0c30b-2fda-4c07-9aaf-b3d10e61ec86" providerId="AD"/>
  <p188:author id="{E99EAF7C-DA87-7A2E-15D2-8BCEAA3A0F4D}" name="Angelo, Fabiano F (ORI)" initials="" userId="S::Fabiano.F.Angelo@mass.gov::46217cac-8018-4313-9564-7223edfa646e" providerId="AD"/>
  <p188:author id="{5D724A7E-7E42-71AE-E626-1812BC37387F}" name="Mikulis, Rick (A&amp;F)" initials="M(" userId="S::rick.mikulis@mass.gov::daa515be-f107-473d-92de-4c1f2f39f7b0" providerId="AD"/>
  <p188:author id="{D2F9257F-A91F-3303-028F-F4BFF22A6598}" name="Higgins, Colin (EOHLC)" initials="HC(" userId="S::Colin.Higgins@mass.gov::32689617-c069-43c8-b298-a842a40b63b3" providerId="AD"/>
  <p188:author id="{8BB92082-80D1-3FCD-B425-3D7BF608B30D}" name="Henry, Arianne M (EHS)" initials="H(" userId="S::arianne.m.henry@mass.gov::ca456296-c955-4a12-b117-6912d5e022cf" providerId="AD"/>
  <p188:author id="{10634585-942A-9061-F196-C16539795295}" name="Tisinger, Katie (A&amp;F)" initials="KT" userId="S::Katie.Tisinger@mass.gov::b780e063-053f-4353-8f63-23391e333ac0" providerId="AD"/>
  <p188:author id="{C3C4CE85-5877-A493-6525-23CB32EB9B66}" name="Michael Kelleher" initials="MK" userId="S::Michael@smartelliestrategies.com::be76b987-db82-474a-9f33-a48ea28c4cd5" providerId="AD"/>
  <p188:author id="{97373987-C03B-5991-11D1-826281BF18C6}" name="Coolidge, Noah (VET)" initials="C(" userId="S::noah.coolidge@mass.gov::7163ba84-40f8-4764-8b66-e2530918ca2c" providerId="AD"/>
  <p188:author id="{A6C22E8F-3CAE-655A-6CD5-05E1390BC8DA}" name="Hobby, Imogen (A&amp;F)" initials="H(" userId="S::imogen.hobby@mass.gov::3f5a7441-bac6-4a5b-9ee2-f3a0a42d4e24" providerId="AD"/>
  <p188:author id="{0EF25F92-2E68-8B58-DE42-0973B6416D2E}" name="Rowan, Angela" initials="RA" userId="S::angela.rowan@accenture.com::b91cf4de-41d6-457a-ac3b-ccab2f514b27" providerId="AD"/>
  <p188:author id="{E2B7F092-4256-3BE0-720A-67B5D0A3E835}" name="Leon, Carol Q (ORI)" initials="L(" userId="S::carol.q.leon@mass.gov::9d17cd82-9a2e-4f96-8790-6c2a4b79354e" providerId="AD"/>
  <p188:author id="{326D6194-D96C-E926-0C55-D7D7490DAD04}" name="Basheer, Aditya W. (A&amp;F)" initials="AB" userId="S::Aditya.W.Basheer@mass.gov::bcde0754-384d-47eb-b387-c9ec5e4f4c2c" providerId="AD"/>
  <p188:author id="{867FA194-F10B-F8FA-8F54-8F4A6E02BBC6}" name="Brown, Blair (EOE)" initials="BB" userId="S::blair.brown@Mass.gov::eaa79805-1faf-4275-89b9-c0d60f8c1510" providerId="AD"/>
  <p188:author id="{68FCB496-FE83-118D-B999-795BEB336C20}" name="Bartosch, William (EOHLC)" initials="B(" userId="S::william.bartosch@mass.gov::fd576bab-8913-41c7-892d-550d53ec4b46" providerId="AD"/>
  <p188:author id="{36AB639B-E166-9380-9F55-3ED993DE57A1}" name="Barrese, Sarah (EOHLC)" initials="BS(" userId="S::Sarah.Barrese2@mass.gov::60d0b564-cec7-47ef-b244-e30e0cfbf4b7" providerId="AD"/>
  <p188:author id="{4DB1FB9E-AD0C-C329-68AB-D6B8573AD062}" name="Angelo, Fabiano F (ORI)" initials="A(" userId="S::fabiano.f.angelo@mass.gov::46217cac-8018-4313-9564-7223edfa646e" providerId="AD"/>
  <p188:author id="{3FB0E8A3-E65F-675E-9257-9304882B5474}" name="Bresnahan, Karen (EOHLC)" initials="KB" userId="S::karen.bresnahan@mass.gov::31e138f5-f147-48e8-840d-aa3f7a4c3675" providerId="AD"/>
  <p188:author id="{C752CCA5-7AF5-D364-3402-6DA15FFE710B}" name="Cuddy, Joshua (EOHLC)" initials="JC" userId="S::Joshua.Cuddy@mass.gov::fe00c576-5af3-4d2a-ade8-c0f212999735" providerId="AD"/>
  <p188:author id="{3F0072A7-DE4C-18DF-33BA-7D4242022399}" name="Hernandez, Laura A." initials="HA" userId="S::laura.a.hernandez_accenture.com#ext#@massgov.onmicrosoft.com::8ad32f6b-e3b6-4847-b779-0409dd880d75" providerId="AD"/>
  <p188:author id="{924EFEAB-319C-4551-0945-BCC4C19354D9}" name="Griffin, Virginia K (EOHLC)" initials="G(" userId="S::virginia.k.griffin@mass.gov::a594d9b0-7e18-4b2e-b9d1-d978910f4587" providerId="AD"/>
  <p188:author id="{BA1C07B4-B3FF-6185-DDCB-38726D3D7E82}" name="Cohen, Jesse (EOHLC)" initials="C(" userId="S::jesse.cohen@mass.gov::de239717-22e7-44d6-95d4-dec19091c871" providerId="AD"/>
  <p188:author id="{75B07CB6-23EE-975C-A338-1FF46C62EA34}" name="Leon, Carol Q (ORI)" initials="CL" userId="S::Carol.Q.Leon@mass.gov::9d17cd82-9a2e-4f96-8790-6c2a4b79354e" providerId="AD"/>
  <p188:author id="{55EE59BD-BCB4-A911-1C1D-8CE3B3BDD213}" name="Arnold, Alyssa" initials="AA" userId="S::alyssa.arnold_accenture.com#ext#@massgov.onmicrosoft.com::3e32abec-d322-4e2b-b710-a421dd96ada6" providerId="AD"/>
  <p188:author id="{BBE83BBE-B2D6-5B34-E5AA-5ED27F9B9525}" name="Sharp, Catia Ruth (A&amp;F)" initials="CS" userId="S::Catia.Ruth.Sharp@mass.gov::20f7adef-f264-4529-977d-46322722f69d" providerId="AD"/>
  <p188:author id="{442E55BF-A777-3AB3-F84E-016014610B67}" name="Bovell-Ammon, Allison (EHS)" initials="B(" userId="S::allison.bovell-ammon@mass.gov::da08f1d4-9db9-46ed-8dfd-818427b61db8" providerId="AD"/>
  <p188:author id="{B33EFEC2-470B-9C22-B604-153F5725953A}" name="Gray, Caroline G. (A&amp;F)" initials="CG" userId="S::Caroline.G.Gray@mass.gov::5d58790b-cb9a-45d4-9b49-9d0eb918a437" providerId="AD"/>
  <p188:author id="{A6D7C8D1-E64A-FA0F-4695-073BDEEBD3AB}" name="Higgins, Colin (EOHLC)" initials="H(" userId="S::colin.higgins@mass.gov::32689617-c069-43c8-b298-a842a40b63b3" providerId="AD"/>
  <p188:author id="{A3CEDEDB-D792-7CB2-9FF6-D9C014977D0B}" name="Church, Susan (ORI)" initials="C(" userId="S::susan.church@mass.gov::601a846d-7ef2-4430-80a2-97cd593c88fa" providerId="AD"/>
  <p188:author id="{5B6282E4-328C-95C6-0EEE-93E1EB5BFD61}" name="Connors, Kaitlyn (A&amp;F)" initials="CK(" userId="S::Kaitlyn.Connors@mass.gov::40e30303-1c2c-4e3c-8345-7c82e4704ecd" providerId="AD"/>
  <p188:author id="{DB79B8EA-D0D3-48C8-9D92-03B1B9F0865D}" name="Zuppa, Heather (EOHLC)" initials="Z(" userId="S::heather.zuppa@mass.gov::9fb7cd31-ce9e-4d49-b8dd-36aea4e3fbbb" providerId="AD"/>
  <p188:author id="{565AE5F2-66BC-A6D9-4220-0190E0EA2B37}" name="McElderry, Kristin" initials="MK" userId="S::kristin.mcelderry@accenture.com::44961bcc-41a6-42d5-9c42-800ca24772a9" providerId="AD"/>
  <p188:author id="{B12383F5-46AC-081A-8C06-692FA050966D}" name="Boyle, Sharon (EHS)" initials="SB" userId="S::sharon.c.boyle@mass.gov::8b469dec-7147-429f-b0ee-5d8ba48dc37e" providerId="AD"/>
  <p188:author id="{65DE8CF9-4FC8-1C46-9251-03BCBFA0557B}" name="Arnold, Alyssa" initials="AA" userId="S::alyssa.arnold@accenture.com::ce62e9f6-e726-4af8-83ea-7fa9fe393748" providerId="AD"/>
  <p188:author id="{4A2A15FD-AA72-1C3B-06DC-60FE018EE2A9}" name="Brown, Blair (EOE)" initials="B(" userId="S::blair.brown@mass.gov::eaa79805-1faf-4275-89b9-c0d60f8c1510" providerId="AD"/>
  <p188:author id="{3C6D96FE-9A4C-F934-EE41-882DD1399D63}" name="Millar, Ronnie (EHS)" initials="M(" userId="S::ronnie.millar@mass.gov::92f2ae28-bdfc-46a6-bf3c-b5b4f3405b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9EC"/>
    <a:srgbClr val="00B050"/>
    <a:srgbClr val="FFFF00"/>
    <a:srgbClr val="FFC000"/>
    <a:srgbClr val="4F81BD"/>
    <a:srgbClr val="CD0D0D"/>
    <a:srgbClr val="FFFFFF"/>
    <a:srgbClr val="D2ECDC"/>
    <a:srgbClr val="14558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7DD932-5BC0-4F85-BD2B-A724CFA318CA}" v="1" dt="2025-10-23T19:23:42.6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150" y="354"/>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ommentAuthors" Target="commentAuthors.xml"/></Relationships>
</file>

<file path=ppt/diagrams/_rels/data9.xml.rels><?xml version="1.0" encoding="UTF-8" standalone="yes"?>
<Relationships xmlns="http://schemas.openxmlformats.org/package/2006/relationships"><Relationship Id="rId1" Type="http://schemas.openxmlformats.org/officeDocument/2006/relationships/hyperlink" Target="https://forms.office.com/Pages/ResponsePage.aspx?id=Fh2GPrdIDkqYBowE2Bt7KhJCRgCYRm1Cof8liPMrpJxUMEczQkpSVFpGUFU2SDBJNVRUVzVHWDdaSSQlQCN0PWcu"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forms.office.com/Pages/ResponsePage.aspx?id=Fh2GPrdIDkqYBowE2Bt7KhJCRgCYRm1Cof8liPMrpJxUMEczQkpSVFpGUFU2SDBJNVRUVzVHWDdaSSQlQCN0PWcu"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418B11-C8EE-4CEB-B740-5635AFDAA14C}" type="doc">
      <dgm:prSet loTypeId="urn:microsoft.com/office/officeart/2016/7/layout/BasicProcessNew" loCatId="process" qsTypeId="urn:microsoft.com/office/officeart/2005/8/quickstyle/simple4" qsCatId="simple" csTypeId="urn:microsoft.com/office/officeart/2005/8/colors/accent1_2" csCatId="accent1" phldr="1"/>
      <dgm:spPr/>
      <dgm:t>
        <a:bodyPr/>
        <a:lstStyle/>
        <a:p>
          <a:endParaRPr lang="en-US"/>
        </a:p>
      </dgm:t>
    </dgm:pt>
    <dgm:pt modelId="{D1C47AC9-8A1B-41D2-857E-CEEF001D4D1D}">
      <dgm:prSet/>
      <dgm:spPr/>
      <dgm:t>
        <a:bodyPr/>
        <a:lstStyle/>
        <a:p>
          <a:r>
            <a:rPr lang="en-US"/>
            <a:t>ICE is a federal law enforcement agency</a:t>
          </a:r>
        </a:p>
      </dgm:t>
    </dgm:pt>
    <dgm:pt modelId="{7A938250-C9BC-4C05-9D5F-E44D76EA0CD3}" type="parTrans" cxnId="{C6BF2B3B-C7BA-4A40-97F0-9AE50B935E69}">
      <dgm:prSet/>
      <dgm:spPr/>
      <dgm:t>
        <a:bodyPr/>
        <a:lstStyle/>
        <a:p>
          <a:endParaRPr lang="en-US"/>
        </a:p>
      </dgm:t>
    </dgm:pt>
    <dgm:pt modelId="{AACB6474-0879-4AEA-A24D-8530E46AEB3F}" type="sibTrans" cxnId="{C6BF2B3B-C7BA-4A40-97F0-9AE50B935E69}">
      <dgm:prSet/>
      <dgm:spPr/>
      <dgm:t>
        <a:bodyPr/>
        <a:lstStyle/>
        <a:p>
          <a:endParaRPr lang="en-US"/>
        </a:p>
      </dgm:t>
    </dgm:pt>
    <dgm:pt modelId="{AEB27A71-CBA7-4B79-9CD7-4AD90367211E}">
      <dgm:prSet/>
      <dgm:spPr/>
      <dgm:t>
        <a:bodyPr/>
        <a:lstStyle/>
        <a:p>
          <a:r>
            <a:rPr lang="en-US"/>
            <a:t>ICE’s authority is generally limited to immigration related enforcement, unless acting in concert with federal or state law enforcement, or investigating crimes through ICE criminal investigative units</a:t>
          </a:r>
        </a:p>
        <a:p>
          <a:endParaRPr lang="en-US"/>
        </a:p>
      </dgm:t>
    </dgm:pt>
    <dgm:pt modelId="{FAF34C21-46D4-49E7-BDAC-104C82B06942}" type="parTrans" cxnId="{8DF483C4-141E-4607-8C1A-2B43053041D8}">
      <dgm:prSet/>
      <dgm:spPr/>
      <dgm:t>
        <a:bodyPr/>
        <a:lstStyle/>
        <a:p>
          <a:endParaRPr lang="en-US"/>
        </a:p>
      </dgm:t>
    </dgm:pt>
    <dgm:pt modelId="{39ECF8DE-ADC2-447C-8EB2-92A68FC43B0D}" type="sibTrans" cxnId="{8DF483C4-141E-4607-8C1A-2B43053041D8}">
      <dgm:prSet/>
      <dgm:spPr/>
      <dgm:t>
        <a:bodyPr/>
        <a:lstStyle/>
        <a:p>
          <a:endParaRPr lang="en-US"/>
        </a:p>
      </dgm:t>
    </dgm:pt>
    <dgm:pt modelId="{DCEF5472-C832-4159-AA40-3056FFC4B150}" type="pres">
      <dgm:prSet presAssocID="{F1418B11-C8EE-4CEB-B740-5635AFDAA14C}" presName="Name0" presStyleCnt="0">
        <dgm:presLayoutVars>
          <dgm:dir/>
          <dgm:resizeHandles val="exact"/>
        </dgm:presLayoutVars>
      </dgm:prSet>
      <dgm:spPr/>
    </dgm:pt>
    <dgm:pt modelId="{09C70C5B-C07F-494A-8AB6-DE347B2DD857}" type="pres">
      <dgm:prSet presAssocID="{D1C47AC9-8A1B-41D2-857E-CEEF001D4D1D}" presName="node" presStyleLbl="node1" presStyleIdx="0" presStyleCnt="3" custScaleX="101344" custScaleY="266744">
        <dgm:presLayoutVars>
          <dgm:bulletEnabled val="1"/>
        </dgm:presLayoutVars>
      </dgm:prSet>
      <dgm:spPr/>
    </dgm:pt>
    <dgm:pt modelId="{E5D25FA5-B933-43B5-BF16-E9EA35915A09}" type="pres">
      <dgm:prSet presAssocID="{AACB6474-0879-4AEA-A24D-8530E46AEB3F}" presName="sibTransSpacerBeforeConnector" presStyleCnt="0"/>
      <dgm:spPr/>
    </dgm:pt>
    <dgm:pt modelId="{C50C822B-C998-4BD9-93AF-781C0C535479}" type="pres">
      <dgm:prSet presAssocID="{AACB6474-0879-4AEA-A24D-8530E46AEB3F}" presName="sibTrans" presStyleLbl="node1" presStyleIdx="1" presStyleCnt="3"/>
      <dgm:spPr/>
    </dgm:pt>
    <dgm:pt modelId="{A8ED7BBB-70C8-43B9-9214-565F439087AB}" type="pres">
      <dgm:prSet presAssocID="{AACB6474-0879-4AEA-A24D-8530E46AEB3F}" presName="sibTransSpacerAfterConnector" presStyleCnt="0"/>
      <dgm:spPr/>
    </dgm:pt>
    <dgm:pt modelId="{C016C784-A17F-4AF3-9B53-605821B4F6E9}" type="pres">
      <dgm:prSet presAssocID="{AEB27A71-CBA7-4B79-9CD7-4AD90367211E}" presName="node" presStyleLbl="node1" presStyleIdx="2" presStyleCnt="3" custScaleY="261106">
        <dgm:presLayoutVars>
          <dgm:bulletEnabled val="1"/>
        </dgm:presLayoutVars>
      </dgm:prSet>
      <dgm:spPr/>
    </dgm:pt>
  </dgm:ptLst>
  <dgm:cxnLst>
    <dgm:cxn modelId="{6B822605-778C-4D4F-8D83-F53B175ABFB2}" type="presOf" srcId="{D1C47AC9-8A1B-41D2-857E-CEEF001D4D1D}" destId="{09C70C5B-C07F-494A-8AB6-DE347B2DD857}" srcOrd="0" destOrd="0" presId="urn:microsoft.com/office/officeart/2016/7/layout/BasicProcessNew"/>
    <dgm:cxn modelId="{E85C7036-889B-4E7C-9FE6-61691FFBB6AA}" type="presOf" srcId="{F1418B11-C8EE-4CEB-B740-5635AFDAA14C}" destId="{DCEF5472-C832-4159-AA40-3056FFC4B150}" srcOrd="0" destOrd="0" presId="urn:microsoft.com/office/officeart/2016/7/layout/BasicProcessNew"/>
    <dgm:cxn modelId="{C6BF2B3B-C7BA-4A40-97F0-9AE50B935E69}" srcId="{F1418B11-C8EE-4CEB-B740-5635AFDAA14C}" destId="{D1C47AC9-8A1B-41D2-857E-CEEF001D4D1D}" srcOrd="0" destOrd="0" parTransId="{7A938250-C9BC-4C05-9D5F-E44D76EA0CD3}" sibTransId="{AACB6474-0879-4AEA-A24D-8530E46AEB3F}"/>
    <dgm:cxn modelId="{CB86B685-6757-4C5D-838F-F8FF19B09FFD}" type="presOf" srcId="{AEB27A71-CBA7-4B79-9CD7-4AD90367211E}" destId="{C016C784-A17F-4AF3-9B53-605821B4F6E9}" srcOrd="0" destOrd="0" presId="urn:microsoft.com/office/officeart/2016/7/layout/BasicProcessNew"/>
    <dgm:cxn modelId="{717BA2A4-8A0F-4E58-B5D4-F1D38F2FF598}" type="presOf" srcId="{AACB6474-0879-4AEA-A24D-8530E46AEB3F}" destId="{C50C822B-C998-4BD9-93AF-781C0C535479}" srcOrd="0" destOrd="0" presId="urn:microsoft.com/office/officeart/2016/7/layout/BasicProcessNew"/>
    <dgm:cxn modelId="{8DF483C4-141E-4607-8C1A-2B43053041D8}" srcId="{F1418B11-C8EE-4CEB-B740-5635AFDAA14C}" destId="{AEB27A71-CBA7-4B79-9CD7-4AD90367211E}" srcOrd="1" destOrd="0" parTransId="{FAF34C21-46D4-49E7-BDAC-104C82B06942}" sibTransId="{39ECF8DE-ADC2-447C-8EB2-92A68FC43B0D}"/>
    <dgm:cxn modelId="{BE6E91D9-E545-4B08-8E5C-02649237731C}" type="presParOf" srcId="{DCEF5472-C832-4159-AA40-3056FFC4B150}" destId="{09C70C5B-C07F-494A-8AB6-DE347B2DD857}" srcOrd="0" destOrd="0" presId="urn:microsoft.com/office/officeart/2016/7/layout/BasicProcessNew"/>
    <dgm:cxn modelId="{C574957E-1DAC-491E-BF02-BA394F60234E}" type="presParOf" srcId="{DCEF5472-C832-4159-AA40-3056FFC4B150}" destId="{E5D25FA5-B933-43B5-BF16-E9EA35915A09}" srcOrd="1" destOrd="0" presId="urn:microsoft.com/office/officeart/2016/7/layout/BasicProcessNew"/>
    <dgm:cxn modelId="{911C03BE-1F78-46EC-8E78-1BC1436864D5}" type="presParOf" srcId="{DCEF5472-C832-4159-AA40-3056FFC4B150}" destId="{C50C822B-C998-4BD9-93AF-781C0C535479}" srcOrd="2" destOrd="0" presId="urn:microsoft.com/office/officeart/2016/7/layout/BasicProcessNew"/>
    <dgm:cxn modelId="{3B04A67F-A4F6-42FD-A2D7-7488717D1B69}" type="presParOf" srcId="{DCEF5472-C832-4159-AA40-3056FFC4B150}" destId="{A8ED7BBB-70C8-43B9-9214-565F439087AB}" srcOrd="3" destOrd="0" presId="urn:microsoft.com/office/officeart/2016/7/layout/BasicProcessNew"/>
    <dgm:cxn modelId="{E872397F-1033-454D-81AB-2BC50682024A}" type="presParOf" srcId="{DCEF5472-C832-4159-AA40-3056FFC4B150}" destId="{C016C784-A17F-4AF3-9B53-605821B4F6E9}" srcOrd="4" destOrd="0" presId="urn:microsoft.com/office/officeart/2016/7/layout/Basic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2D3127D-F817-4D93-85F6-8745070BC27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A12C28C7-1174-4CA0-8296-6EBA25A29764}">
      <dgm:prSet/>
      <dgm:spPr/>
      <dgm:t>
        <a:bodyPr/>
        <a:lstStyle/>
        <a:p>
          <a:pPr rtl="0"/>
          <a:r>
            <a:rPr lang="en-US"/>
            <a:t>MA AGO’s Children’s Justice Unit</a:t>
          </a:r>
          <a:r>
            <a:rPr lang="en-US">
              <a:latin typeface="Arial"/>
            </a:rPr>
            <a:t> – liza.hirsch@mass.gov</a:t>
          </a:r>
          <a:endParaRPr lang="en-US"/>
        </a:p>
      </dgm:t>
    </dgm:pt>
    <dgm:pt modelId="{6570C5A1-AFC5-499A-AD1D-7AA8805564FD}" type="parTrans" cxnId="{6C6475F8-6F04-4EAC-BA52-D7EFE5F7C1B7}">
      <dgm:prSet/>
      <dgm:spPr/>
      <dgm:t>
        <a:bodyPr/>
        <a:lstStyle/>
        <a:p>
          <a:endParaRPr lang="en-US"/>
        </a:p>
      </dgm:t>
    </dgm:pt>
    <dgm:pt modelId="{22AE461E-359B-4975-BD23-839B097DE4E2}" type="sibTrans" cxnId="{6C6475F8-6F04-4EAC-BA52-D7EFE5F7C1B7}">
      <dgm:prSet/>
      <dgm:spPr/>
      <dgm:t>
        <a:bodyPr/>
        <a:lstStyle/>
        <a:p>
          <a:endParaRPr lang="en-US"/>
        </a:p>
      </dgm:t>
    </dgm:pt>
    <dgm:pt modelId="{EF64DF70-97A2-4B0B-8916-96C8BF55B248}">
      <dgm:prSet/>
      <dgm:spPr/>
      <dgm:t>
        <a:bodyPr/>
        <a:lstStyle/>
        <a:p>
          <a:r>
            <a:rPr lang="en-US"/>
            <a:t>Immigration enforcement in or around schools</a:t>
          </a:r>
        </a:p>
      </dgm:t>
    </dgm:pt>
    <dgm:pt modelId="{2EE20280-D0CD-45C9-90E6-9764B36B8322}" type="parTrans" cxnId="{E0D6C966-8A3D-40F4-B2CD-9ED4DAFFA7EB}">
      <dgm:prSet/>
      <dgm:spPr/>
      <dgm:t>
        <a:bodyPr/>
        <a:lstStyle/>
        <a:p>
          <a:endParaRPr lang="en-US"/>
        </a:p>
      </dgm:t>
    </dgm:pt>
    <dgm:pt modelId="{CA4908C7-3DAE-42CB-808A-AA50FBD0689D}" type="sibTrans" cxnId="{E0D6C966-8A3D-40F4-B2CD-9ED4DAFFA7EB}">
      <dgm:prSet/>
      <dgm:spPr/>
      <dgm:t>
        <a:bodyPr/>
        <a:lstStyle/>
        <a:p>
          <a:endParaRPr lang="en-US"/>
        </a:p>
      </dgm:t>
    </dgm:pt>
    <dgm:pt modelId="{9630A56B-CBF4-4399-A9F5-D503C99BA311}">
      <dgm:prSet/>
      <dgm:spPr/>
      <dgm:t>
        <a:bodyPr/>
        <a:lstStyle/>
        <a:p>
          <a:pPr rtl="0"/>
          <a:r>
            <a:rPr lang="en-US"/>
            <a:t>ORI</a:t>
          </a:r>
          <a:r>
            <a:rPr lang="en-US">
              <a:latin typeface="Arial"/>
            </a:rPr>
            <a:t> – susan.church@mass.gov</a:t>
          </a:r>
          <a:endParaRPr lang="en-US"/>
        </a:p>
      </dgm:t>
    </dgm:pt>
    <dgm:pt modelId="{381D8F17-F91B-42B0-A34F-24DF6DE300DD}" type="parTrans" cxnId="{05A55280-709C-4217-9B25-2A3449104CD1}">
      <dgm:prSet/>
      <dgm:spPr/>
      <dgm:t>
        <a:bodyPr/>
        <a:lstStyle/>
        <a:p>
          <a:endParaRPr lang="en-US"/>
        </a:p>
      </dgm:t>
    </dgm:pt>
    <dgm:pt modelId="{EFE80557-9495-479D-8C9A-32BD2B2E2540}" type="sibTrans" cxnId="{05A55280-709C-4217-9B25-2A3449104CD1}">
      <dgm:prSet/>
      <dgm:spPr/>
      <dgm:t>
        <a:bodyPr/>
        <a:lstStyle/>
        <a:p>
          <a:endParaRPr lang="en-US"/>
        </a:p>
      </dgm:t>
    </dgm:pt>
    <dgm:pt modelId="{BB83EE23-EE99-4D47-9F27-F30D6B8C3404}">
      <dgm:prSet/>
      <dgm:spPr/>
      <dgm:t>
        <a:bodyPr/>
        <a:lstStyle/>
        <a:p>
          <a:r>
            <a:rPr lang="en-US"/>
            <a:t>Immigration enforcement in or around EA shelters, schools, places of worship, or other sensitive locations
Detention of a parent/caregiver for a child with significant disabilities
Detention of a parent/caregiver for a child who is currently undergoing medical treatment for a serious medical condition (such as cancer)
Detention of a teenager, younger person, student
Detention of individual with no criminal record, United States Citizen children and significant long term US residence (more than 15 years approximately)
Other cases where a significant humanitarian concern is presented, including larger scale workplace raids or immigration enforcement events </a:t>
          </a:r>
        </a:p>
      </dgm:t>
    </dgm:pt>
    <dgm:pt modelId="{080489FF-31F0-4C21-9C36-A9E0E9B222EF}" type="parTrans" cxnId="{638C56C7-B83A-49CA-BBFC-9C0BDCE5A3ED}">
      <dgm:prSet/>
      <dgm:spPr/>
      <dgm:t>
        <a:bodyPr/>
        <a:lstStyle/>
        <a:p>
          <a:endParaRPr lang="en-US"/>
        </a:p>
      </dgm:t>
    </dgm:pt>
    <dgm:pt modelId="{C0991DCE-A2B9-498D-9DE7-AEBB17D18096}" type="sibTrans" cxnId="{638C56C7-B83A-49CA-BBFC-9C0BDCE5A3ED}">
      <dgm:prSet/>
      <dgm:spPr/>
      <dgm:t>
        <a:bodyPr/>
        <a:lstStyle/>
        <a:p>
          <a:endParaRPr lang="en-US"/>
        </a:p>
      </dgm:t>
    </dgm:pt>
    <dgm:pt modelId="{260D2DE1-60AB-4FFA-B0B0-59C1378CC83C}">
      <dgm:prSet/>
      <dgm:spPr/>
      <dgm:t>
        <a:bodyPr/>
        <a:lstStyle/>
        <a:p>
          <a:r>
            <a:rPr lang="en-US"/>
            <a:t>Detention of young person under the age of 19</a:t>
          </a:r>
        </a:p>
      </dgm:t>
    </dgm:pt>
    <dgm:pt modelId="{92861830-631C-454E-8334-B2DAFBAD5DE4}" type="parTrans" cxnId="{E65CC24A-1024-4093-98DC-568BED5AA072}">
      <dgm:prSet/>
      <dgm:spPr/>
      <dgm:t>
        <a:bodyPr/>
        <a:lstStyle/>
        <a:p>
          <a:endParaRPr lang="en-US"/>
        </a:p>
      </dgm:t>
    </dgm:pt>
    <dgm:pt modelId="{F2F08F37-9300-4EDE-A75F-798BA891FDA4}" type="sibTrans" cxnId="{E65CC24A-1024-4093-98DC-568BED5AA072}">
      <dgm:prSet/>
      <dgm:spPr/>
      <dgm:t>
        <a:bodyPr/>
        <a:lstStyle/>
        <a:p>
          <a:endParaRPr lang="en-US"/>
        </a:p>
      </dgm:t>
    </dgm:pt>
    <dgm:pt modelId="{9C80B986-65A7-424C-B62F-21909F5C1E8B}" type="pres">
      <dgm:prSet presAssocID="{E2D3127D-F817-4D93-85F6-8745070BC27A}" presName="linear" presStyleCnt="0">
        <dgm:presLayoutVars>
          <dgm:animLvl val="lvl"/>
          <dgm:resizeHandles val="exact"/>
        </dgm:presLayoutVars>
      </dgm:prSet>
      <dgm:spPr/>
    </dgm:pt>
    <dgm:pt modelId="{07E02D6F-4192-442E-B151-37D2A07020EC}" type="pres">
      <dgm:prSet presAssocID="{A12C28C7-1174-4CA0-8296-6EBA25A29764}" presName="parentText" presStyleLbl="node1" presStyleIdx="0" presStyleCnt="2">
        <dgm:presLayoutVars>
          <dgm:chMax val="0"/>
          <dgm:bulletEnabled val="1"/>
        </dgm:presLayoutVars>
      </dgm:prSet>
      <dgm:spPr/>
    </dgm:pt>
    <dgm:pt modelId="{A2819BA5-2D35-484C-B0F0-42A574916988}" type="pres">
      <dgm:prSet presAssocID="{A12C28C7-1174-4CA0-8296-6EBA25A29764}" presName="childText" presStyleLbl="revTx" presStyleIdx="0" presStyleCnt="2">
        <dgm:presLayoutVars>
          <dgm:bulletEnabled val="1"/>
        </dgm:presLayoutVars>
      </dgm:prSet>
      <dgm:spPr/>
    </dgm:pt>
    <dgm:pt modelId="{03378D47-CAA2-4EEA-9F00-431192EEE9DD}" type="pres">
      <dgm:prSet presAssocID="{9630A56B-CBF4-4399-A9F5-D503C99BA311}" presName="parentText" presStyleLbl="node1" presStyleIdx="1" presStyleCnt="2">
        <dgm:presLayoutVars>
          <dgm:chMax val="0"/>
          <dgm:bulletEnabled val="1"/>
        </dgm:presLayoutVars>
      </dgm:prSet>
      <dgm:spPr/>
    </dgm:pt>
    <dgm:pt modelId="{1BBC16FC-7259-48C1-B21F-15C33D9425CF}" type="pres">
      <dgm:prSet presAssocID="{9630A56B-CBF4-4399-A9F5-D503C99BA311}" presName="childText" presStyleLbl="revTx" presStyleIdx="1" presStyleCnt="2">
        <dgm:presLayoutVars>
          <dgm:bulletEnabled val="1"/>
        </dgm:presLayoutVars>
      </dgm:prSet>
      <dgm:spPr/>
    </dgm:pt>
  </dgm:ptLst>
  <dgm:cxnLst>
    <dgm:cxn modelId="{E38A721B-3B15-47A1-94DF-F40D246C28BF}" type="presOf" srcId="{260D2DE1-60AB-4FFA-B0B0-59C1378CC83C}" destId="{A2819BA5-2D35-484C-B0F0-42A574916988}" srcOrd="0" destOrd="1" presId="urn:microsoft.com/office/officeart/2005/8/layout/vList2"/>
    <dgm:cxn modelId="{A189C238-DED6-4CC2-BCCD-43C31E64F355}" type="presOf" srcId="{EF64DF70-97A2-4B0B-8916-96C8BF55B248}" destId="{A2819BA5-2D35-484C-B0F0-42A574916988}" srcOrd="0" destOrd="0" presId="urn:microsoft.com/office/officeart/2005/8/layout/vList2"/>
    <dgm:cxn modelId="{0634C746-EE67-4A0B-AFFE-DD6DE1CA374C}" type="presOf" srcId="{E2D3127D-F817-4D93-85F6-8745070BC27A}" destId="{9C80B986-65A7-424C-B62F-21909F5C1E8B}" srcOrd="0" destOrd="0" presId="urn:microsoft.com/office/officeart/2005/8/layout/vList2"/>
    <dgm:cxn modelId="{E0D6C966-8A3D-40F4-B2CD-9ED4DAFFA7EB}" srcId="{A12C28C7-1174-4CA0-8296-6EBA25A29764}" destId="{EF64DF70-97A2-4B0B-8916-96C8BF55B248}" srcOrd="0" destOrd="0" parTransId="{2EE20280-D0CD-45C9-90E6-9764B36B8322}" sibTransId="{CA4908C7-3DAE-42CB-808A-AA50FBD0689D}"/>
    <dgm:cxn modelId="{E65CC24A-1024-4093-98DC-568BED5AA072}" srcId="{A12C28C7-1174-4CA0-8296-6EBA25A29764}" destId="{260D2DE1-60AB-4FFA-B0B0-59C1378CC83C}" srcOrd="1" destOrd="0" parTransId="{92861830-631C-454E-8334-B2DAFBAD5DE4}" sibTransId="{F2F08F37-9300-4EDE-A75F-798BA891FDA4}"/>
    <dgm:cxn modelId="{4723505A-25B7-4B8C-AFE4-0B9F8C3F75F0}" type="presOf" srcId="{A12C28C7-1174-4CA0-8296-6EBA25A29764}" destId="{07E02D6F-4192-442E-B151-37D2A07020EC}" srcOrd="0" destOrd="0" presId="urn:microsoft.com/office/officeart/2005/8/layout/vList2"/>
    <dgm:cxn modelId="{05A55280-709C-4217-9B25-2A3449104CD1}" srcId="{E2D3127D-F817-4D93-85F6-8745070BC27A}" destId="{9630A56B-CBF4-4399-A9F5-D503C99BA311}" srcOrd="1" destOrd="0" parTransId="{381D8F17-F91B-42B0-A34F-24DF6DE300DD}" sibTransId="{EFE80557-9495-479D-8C9A-32BD2B2E2540}"/>
    <dgm:cxn modelId="{1C65AA98-9091-4779-906F-0FB6F888BE2A}" type="presOf" srcId="{BB83EE23-EE99-4D47-9F27-F30D6B8C3404}" destId="{1BBC16FC-7259-48C1-B21F-15C33D9425CF}" srcOrd="0" destOrd="0" presId="urn:microsoft.com/office/officeart/2005/8/layout/vList2"/>
    <dgm:cxn modelId="{EC967FBB-5126-4A43-8F12-27878A3F256C}" type="presOf" srcId="{9630A56B-CBF4-4399-A9F5-D503C99BA311}" destId="{03378D47-CAA2-4EEA-9F00-431192EEE9DD}" srcOrd="0" destOrd="0" presId="urn:microsoft.com/office/officeart/2005/8/layout/vList2"/>
    <dgm:cxn modelId="{638C56C7-B83A-49CA-BBFC-9C0BDCE5A3ED}" srcId="{9630A56B-CBF4-4399-A9F5-D503C99BA311}" destId="{BB83EE23-EE99-4D47-9F27-F30D6B8C3404}" srcOrd="0" destOrd="0" parTransId="{080489FF-31F0-4C21-9C36-A9E0E9B222EF}" sibTransId="{C0991DCE-A2B9-498D-9DE7-AEBB17D18096}"/>
    <dgm:cxn modelId="{6C6475F8-6F04-4EAC-BA52-D7EFE5F7C1B7}" srcId="{E2D3127D-F817-4D93-85F6-8745070BC27A}" destId="{A12C28C7-1174-4CA0-8296-6EBA25A29764}" srcOrd="0" destOrd="0" parTransId="{6570C5A1-AFC5-499A-AD1D-7AA8805564FD}" sibTransId="{22AE461E-359B-4975-BD23-839B097DE4E2}"/>
    <dgm:cxn modelId="{BD2EA093-4CCF-46E3-803A-DE0188927037}" type="presParOf" srcId="{9C80B986-65A7-424C-B62F-21909F5C1E8B}" destId="{07E02D6F-4192-442E-B151-37D2A07020EC}" srcOrd="0" destOrd="0" presId="urn:microsoft.com/office/officeart/2005/8/layout/vList2"/>
    <dgm:cxn modelId="{66C6F480-C24A-4F29-A35A-7207B8814D47}" type="presParOf" srcId="{9C80B986-65A7-424C-B62F-21909F5C1E8B}" destId="{A2819BA5-2D35-484C-B0F0-42A574916988}" srcOrd="1" destOrd="0" presId="urn:microsoft.com/office/officeart/2005/8/layout/vList2"/>
    <dgm:cxn modelId="{2AB713CB-5C9E-4B04-A950-893EAE2BBFFA}" type="presParOf" srcId="{9C80B986-65A7-424C-B62F-21909F5C1E8B}" destId="{03378D47-CAA2-4EEA-9F00-431192EEE9DD}" srcOrd="2" destOrd="0" presId="urn:microsoft.com/office/officeart/2005/8/layout/vList2"/>
    <dgm:cxn modelId="{38A4B837-419F-482A-A203-53D955C90D40}" type="presParOf" srcId="{9C80B986-65A7-424C-B62F-21909F5C1E8B}" destId="{1BBC16FC-7259-48C1-B21F-15C33D9425CF}"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8313352-7F37-49F1-AF78-C2887D70FA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A5280FB-5CF3-429A-B389-EA4E0F4DBC9C}">
      <dgm:prSet/>
      <dgm:spPr/>
      <dgm:t>
        <a:bodyPr/>
        <a:lstStyle/>
        <a:p>
          <a:r>
            <a:rPr lang="en-US" b="1" i="1"/>
            <a:t>ICE can demand identification:</a:t>
          </a:r>
          <a:endParaRPr lang="en-US"/>
        </a:p>
      </dgm:t>
    </dgm:pt>
    <dgm:pt modelId="{C5C238AC-7BCB-4BB8-9D0C-C530664F65EB}" type="parTrans" cxnId="{E9392862-E439-4F7F-A27C-A1694EB859E7}">
      <dgm:prSet/>
      <dgm:spPr/>
      <dgm:t>
        <a:bodyPr/>
        <a:lstStyle/>
        <a:p>
          <a:endParaRPr lang="en-US"/>
        </a:p>
      </dgm:t>
    </dgm:pt>
    <dgm:pt modelId="{EFB7E603-B03C-4306-8EE1-E7F55DE3248B}" type="sibTrans" cxnId="{E9392862-E439-4F7F-A27C-A1694EB859E7}">
      <dgm:prSet/>
      <dgm:spPr/>
      <dgm:t>
        <a:bodyPr/>
        <a:lstStyle/>
        <a:p>
          <a:endParaRPr lang="en-US"/>
        </a:p>
      </dgm:t>
    </dgm:pt>
    <dgm:pt modelId="{157C2B6F-4D87-4631-90CB-C13885C834C9}">
      <dgm:prSet/>
      <dgm:spPr/>
      <dgm:t>
        <a:bodyPr/>
        <a:lstStyle/>
        <a:p>
          <a:r>
            <a:rPr lang="en-US"/>
            <a:t>Immigrants often must carry identification on them, including copies of a green card and/or proof of registration.</a:t>
          </a:r>
        </a:p>
      </dgm:t>
    </dgm:pt>
    <dgm:pt modelId="{6F978F00-0997-48EA-B357-20D8E947FE3D}" type="parTrans" cxnId="{1AC7DE1C-3F8E-4089-9E09-9BE7E0A15129}">
      <dgm:prSet/>
      <dgm:spPr/>
      <dgm:t>
        <a:bodyPr/>
        <a:lstStyle/>
        <a:p>
          <a:endParaRPr lang="en-US"/>
        </a:p>
      </dgm:t>
    </dgm:pt>
    <dgm:pt modelId="{06A011F2-CEA4-44F3-90CB-832D7ED4900F}" type="sibTrans" cxnId="{1AC7DE1C-3F8E-4089-9E09-9BE7E0A15129}">
      <dgm:prSet/>
      <dgm:spPr/>
      <dgm:t>
        <a:bodyPr/>
        <a:lstStyle/>
        <a:p>
          <a:endParaRPr lang="en-US"/>
        </a:p>
      </dgm:t>
    </dgm:pt>
    <dgm:pt modelId="{311A4162-F4E6-496E-A2DB-495B1647157D}">
      <dgm:prSet/>
      <dgm:spPr/>
      <dgm:t>
        <a:bodyPr/>
        <a:lstStyle/>
        <a:p>
          <a:r>
            <a:rPr lang="en-US"/>
            <a:t>Depending on the facts and circumstances, ICE officers, when they have probable cause to believe a person is here unlawfully, can ask for identification. </a:t>
          </a:r>
        </a:p>
      </dgm:t>
    </dgm:pt>
    <dgm:pt modelId="{E52B28FB-7F92-49FC-95FE-EDDC76332C63}" type="parTrans" cxnId="{53810D08-F2D7-45BB-A3EC-DAD3B736EB20}">
      <dgm:prSet/>
      <dgm:spPr/>
      <dgm:t>
        <a:bodyPr/>
        <a:lstStyle/>
        <a:p>
          <a:endParaRPr lang="en-US"/>
        </a:p>
      </dgm:t>
    </dgm:pt>
    <dgm:pt modelId="{C07CD696-33AA-455D-A06F-BE478DF37A32}" type="sibTrans" cxnId="{53810D08-F2D7-45BB-A3EC-DAD3B736EB20}">
      <dgm:prSet/>
      <dgm:spPr/>
      <dgm:t>
        <a:bodyPr/>
        <a:lstStyle/>
        <a:p>
          <a:endParaRPr lang="en-US"/>
        </a:p>
      </dgm:t>
    </dgm:pt>
    <dgm:pt modelId="{59A8A362-BAE7-413F-97BC-75E6D0D489E5}">
      <dgm:prSet/>
      <dgm:spPr/>
      <dgm:t>
        <a:bodyPr/>
        <a:lstStyle/>
        <a:p>
          <a:r>
            <a:rPr lang="en-US" b="1" i="1"/>
            <a:t>ICE can interrogate:</a:t>
          </a:r>
          <a:endParaRPr lang="en-US"/>
        </a:p>
      </dgm:t>
    </dgm:pt>
    <dgm:pt modelId="{ECB8672F-B6AD-477F-8D09-7F1685EFD70D}" type="parTrans" cxnId="{89A3B10D-AC8E-4F49-8E1D-D3051FAB23F3}">
      <dgm:prSet/>
      <dgm:spPr/>
      <dgm:t>
        <a:bodyPr/>
        <a:lstStyle/>
        <a:p>
          <a:endParaRPr lang="en-US"/>
        </a:p>
      </dgm:t>
    </dgm:pt>
    <dgm:pt modelId="{F8B4CB0F-DF7D-4632-A74C-4711EA0F820F}" type="sibTrans" cxnId="{89A3B10D-AC8E-4F49-8E1D-D3051FAB23F3}">
      <dgm:prSet/>
      <dgm:spPr/>
      <dgm:t>
        <a:bodyPr/>
        <a:lstStyle/>
        <a:p>
          <a:endParaRPr lang="en-US"/>
        </a:p>
      </dgm:t>
    </dgm:pt>
    <dgm:pt modelId="{BE4D3FB1-2ECA-43B1-8056-5359D68D1B4F}">
      <dgm:prSet/>
      <dgm:spPr/>
      <dgm:t>
        <a:bodyPr/>
        <a:lstStyle/>
        <a:p>
          <a:r>
            <a:rPr lang="en-US"/>
            <a:t>ICE officers may interrogate a noncitizen or person believed to be a noncitizen as to their “right to be, or to remain in the United States” without a warrant. (</a:t>
          </a:r>
          <a:r>
            <a:rPr lang="en-US" i="1"/>
            <a:t>NOTE: individuals have a right to remain silent and to a lawyer even if undocumented</a:t>
          </a:r>
          <a:r>
            <a:rPr lang="en-US"/>
            <a:t>).</a:t>
          </a:r>
        </a:p>
      </dgm:t>
    </dgm:pt>
    <dgm:pt modelId="{AAFAE3CF-C305-41CA-B6CB-B497AF52F579}" type="parTrans" cxnId="{F1530FA7-6A79-4ABE-AFE2-89A2F86CD044}">
      <dgm:prSet/>
      <dgm:spPr/>
      <dgm:t>
        <a:bodyPr/>
        <a:lstStyle/>
        <a:p>
          <a:endParaRPr lang="en-US"/>
        </a:p>
      </dgm:t>
    </dgm:pt>
    <dgm:pt modelId="{A3DE5026-E120-4D4E-9C12-2701EFB83F2B}" type="sibTrans" cxnId="{F1530FA7-6A79-4ABE-AFE2-89A2F86CD044}">
      <dgm:prSet/>
      <dgm:spPr/>
      <dgm:t>
        <a:bodyPr/>
        <a:lstStyle/>
        <a:p>
          <a:endParaRPr lang="en-US"/>
        </a:p>
      </dgm:t>
    </dgm:pt>
    <dgm:pt modelId="{6005A7D6-F4C2-4F4D-985C-DE4C62A1777B}">
      <dgm:prSet/>
      <dgm:spPr/>
      <dgm:t>
        <a:bodyPr/>
        <a:lstStyle/>
        <a:p>
          <a:r>
            <a:rPr lang="en-US"/>
            <a:t>ICE cannot approach any individual based on race or nationality alone.  However, ICE can approach a person based on factors unknown to the interrogated person.  </a:t>
          </a:r>
        </a:p>
      </dgm:t>
    </dgm:pt>
    <dgm:pt modelId="{17484AE1-B853-4240-9F55-43768248CCAC}" type="parTrans" cxnId="{7C46937B-DAB2-4DC3-82D7-B35CCE9B4A90}">
      <dgm:prSet/>
      <dgm:spPr/>
      <dgm:t>
        <a:bodyPr/>
        <a:lstStyle/>
        <a:p>
          <a:endParaRPr lang="en-US"/>
        </a:p>
      </dgm:t>
    </dgm:pt>
    <dgm:pt modelId="{AE4FC718-A254-449B-9AB3-3C16A022FE85}" type="sibTrans" cxnId="{7C46937B-DAB2-4DC3-82D7-B35CCE9B4A90}">
      <dgm:prSet/>
      <dgm:spPr/>
      <dgm:t>
        <a:bodyPr/>
        <a:lstStyle/>
        <a:p>
          <a:endParaRPr lang="en-US"/>
        </a:p>
      </dgm:t>
    </dgm:pt>
    <dgm:pt modelId="{795D899F-59F2-4D7F-A5AE-0C3B371D4FBC}">
      <dgm:prSet/>
      <dgm:spPr/>
      <dgm:t>
        <a:bodyPr/>
        <a:lstStyle/>
        <a:p>
          <a:endParaRPr lang="en-US"/>
        </a:p>
      </dgm:t>
    </dgm:pt>
    <dgm:pt modelId="{FF2934C0-02DE-444B-A59C-D89BBF0CD429}" type="parTrans" cxnId="{780C8B62-8136-4003-BB4E-E6B8D27175D8}">
      <dgm:prSet/>
      <dgm:spPr/>
      <dgm:t>
        <a:bodyPr/>
        <a:lstStyle/>
        <a:p>
          <a:endParaRPr lang="en-US"/>
        </a:p>
      </dgm:t>
    </dgm:pt>
    <dgm:pt modelId="{D546C90C-51F0-4AD0-9DD7-469C840CF2CF}" type="sibTrans" cxnId="{780C8B62-8136-4003-BB4E-E6B8D27175D8}">
      <dgm:prSet/>
      <dgm:spPr/>
      <dgm:t>
        <a:bodyPr/>
        <a:lstStyle/>
        <a:p>
          <a:endParaRPr lang="en-US"/>
        </a:p>
      </dgm:t>
    </dgm:pt>
    <dgm:pt modelId="{F418414F-45AA-44C3-BA5E-38625DE2D6D6}">
      <dgm:prSet/>
      <dgm:spPr/>
      <dgm:t>
        <a:bodyPr/>
        <a:lstStyle/>
        <a:p>
          <a:endParaRPr lang="en-US"/>
        </a:p>
      </dgm:t>
    </dgm:pt>
    <dgm:pt modelId="{D73456A4-FA6F-4C59-8271-907C8A708C56}" type="parTrans" cxnId="{C6D297D3-B7E5-471C-A8D5-7B59C957E1A0}">
      <dgm:prSet/>
      <dgm:spPr/>
      <dgm:t>
        <a:bodyPr/>
        <a:lstStyle/>
        <a:p>
          <a:endParaRPr lang="en-US"/>
        </a:p>
      </dgm:t>
    </dgm:pt>
    <dgm:pt modelId="{19DD0F58-6D0D-4EC8-8622-B7E2BD14CCB0}" type="sibTrans" cxnId="{C6D297D3-B7E5-471C-A8D5-7B59C957E1A0}">
      <dgm:prSet/>
      <dgm:spPr/>
      <dgm:t>
        <a:bodyPr/>
        <a:lstStyle/>
        <a:p>
          <a:endParaRPr lang="en-US"/>
        </a:p>
      </dgm:t>
    </dgm:pt>
    <dgm:pt modelId="{6597FEAB-27E6-4E14-A3D2-A8255106EC1E}" type="pres">
      <dgm:prSet presAssocID="{78313352-7F37-49F1-AF78-C2887D70FAFB}" presName="Name0" presStyleCnt="0">
        <dgm:presLayoutVars>
          <dgm:dir/>
          <dgm:animLvl val="lvl"/>
          <dgm:resizeHandles val="exact"/>
        </dgm:presLayoutVars>
      </dgm:prSet>
      <dgm:spPr/>
    </dgm:pt>
    <dgm:pt modelId="{2382B9B7-85D6-4134-A3B4-B0E287787796}" type="pres">
      <dgm:prSet presAssocID="{DA5280FB-5CF3-429A-B389-EA4E0F4DBC9C}" presName="composite" presStyleCnt="0"/>
      <dgm:spPr/>
    </dgm:pt>
    <dgm:pt modelId="{E3D6E35A-DD82-4B45-81A9-80ACE1A02143}" type="pres">
      <dgm:prSet presAssocID="{DA5280FB-5CF3-429A-B389-EA4E0F4DBC9C}" presName="parTx" presStyleLbl="alignNode1" presStyleIdx="0" presStyleCnt="2">
        <dgm:presLayoutVars>
          <dgm:chMax val="0"/>
          <dgm:chPref val="0"/>
          <dgm:bulletEnabled val="1"/>
        </dgm:presLayoutVars>
      </dgm:prSet>
      <dgm:spPr/>
    </dgm:pt>
    <dgm:pt modelId="{80D9EE47-E1BA-4623-99E0-21A122EB8B19}" type="pres">
      <dgm:prSet presAssocID="{DA5280FB-5CF3-429A-B389-EA4E0F4DBC9C}" presName="desTx" presStyleLbl="alignAccFollowNode1" presStyleIdx="0" presStyleCnt="2">
        <dgm:presLayoutVars>
          <dgm:bulletEnabled val="1"/>
        </dgm:presLayoutVars>
      </dgm:prSet>
      <dgm:spPr/>
    </dgm:pt>
    <dgm:pt modelId="{B21F3B9E-5DE0-478B-918E-3E2F097A7946}" type="pres">
      <dgm:prSet presAssocID="{EFB7E603-B03C-4306-8EE1-E7F55DE3248B}" presName="space" presStyleCnt="0"/>
      <dgm:spPr/>
    </dgm:pt>
    <dgm:pt modelId="{6758443D-BE87-438A-86DA-39ED9B42777E}" type="pres">
      <dgm:prSet presAssocID="{59A8A362-BAE7-413F-97BC-75E6D0D489E5}" presName="composite" presStyleCnt="0"/>
      <dgm:spPr/>
    </dgm:pt>
    <dgm:pt modelId="{59019A88-07A4-43D8-88C4-9BF209DC27E5}" type="pres">
      <dgm:prSet presAssocID="{59A8A362-BAE7-413F-97BC-75E6D0D489E5}" presName="parTx" presStyleLbl="alignNode1" presStyleIdx="1" presStyleCnt="2">
        <dgm:presLayoutVars>
          <dgm:chMax val="0"/>
          <dgm:chPref val="0"/>
          <dgm:bulletEnabled val="1"/>
        </dgm:presLayoutVars>
      </dgm:prSet>
      <dgm:spPr/>
    </dgm:pt>
    <dgm:pt modelId="{855F6275-9653-4E64-953F-F03D94C52F30}" type="pres">
      <dgm:prSet presAssocID="{59A8A362-BAE7-413F-97BC-75E6D0D489E5}" presName="desTx" presStyleLbl="alignAccFollowNode1" presStyleIdx="1" presStyleCnt="2">
        <dgm:presLayoutVars>
          <dgm:bulletEnabled val="1"/>
        </dgm:presLayoutVars>
      </dgm:prSet>
      <dgm:spPr/>
    </dgm:pt>
  </dgm:ptLst>
  <dgm:cxnLst>
    <dgm:cxn modelId="{4D2A4600-60BC-46E3-927B-F975986EBED7}" type="presOf" srcId="{795D899F-59F2-4D7F-A5AE-0C3B371D4FBC}" destId="{80D9EE47-E1BA-4623-99E0-21A122EB8B19}" srcOrd="0" destOrd="1" presId="urn:microsoft.com/office/officeart/2005/8/layout/hList1"/>
    <dgm:cxn modelId="{5CCAC107-AAA7-4CA4-8044-F5F08CC105E9}" type="presOf" srcId="{59A8A362-BAE7-413F-97BC-75E6D0D489E5}" destId="{59019A88-07A4-43D8-88C4-9BF209DC27E5}" srcOrd="0" destOrd="0" presId="urn:microsoft.com/office/officeart/2005/8/layout/hList1"/>
    <dgm:cxn modelId="{53810D08-F2D7-45BB-A3EC-DAD3B736EB20}" srcId="{DA5280FB-5CF3-429A-B389-EA4E0F4DBC9C}" destId="{311A4162-F4E6-496E-A2DB-495B1647157D}" srcOrd="2" destOrd="0" parTransId="{E52B28FB-7F92-49FC-95FE-EDDC76332C63}" sibTransId="{C07CD696-33AA-455D-A06F-BE478DF37A32}"/>
    <dgm:cxn modelId="{89A3B10D-AC8E-4F49-8E1D-D3051FAB23F3}" srcId="{78313352-7F37-49F1-AF78-C2887D70FAFB}" destId="{59A8A362-BAE7-413F-97BC-75E6D0D489E5}" srcOrd="1" destOrd="0" parTransId="{ECB8672F-B6AD-477F-8D09-7F1685EFD70D}" sibTransId="{F8B4CB0F-DF7D-4632-A74C-4711EA0F820F}"/>
    <dgm:cxn modelId="{1AC7DE1C-3F8E-4089-9E09-9BE7E0A15129}" srcId="{DA5280FB-5CF3-429A-B389-EA4E0F4DBC9C}" destId="{157C2B6F-4D87-4631-90CB-C13885C834C9}" srcOrd="0" destOrd="0" parTransId="{6F978F00-0997-48EA-B357-20D8E947FE3D}" sibTransId="{06A011F2-CEA4-44F3-90CB-832D7ED4900F}"/>
    <dgm:cxn modelId="{75502923-0025-4DBA-969C-ECF3E762B161}" type="presOf" srcId="{157C2B6F-4D87-4631-90CB-C13885C834C9}" destId="{80D9EE47-E1BA-4623-99E0-21A122EB8B19}" srcOrd="0" destOrd="0" presId="urn:microsoft.com/office/officeart/2005/8/layout/hList1"/>
    <dgm:cxn modelId="{C1DFD432-FCC6-4FE1-828F-A2570E3CCA4C}" type="presOf" srcId="{6005A7D6-F4C2-4F4D-985C-DE4C62A1777B}" destId="{855F6275-9653-4E64-953F-F03D94C52F30}" srcOrd="0" destOrd="2" presId="urn:microsoft.com/office/officeart/2005/8/layout/hList1"/>
    <dgm:cxn modelId="{8CECC43E-1533-4A33-A5C2-D071ECFB8560}" type="presOf" srcId="{BE4D3FB1-2ECA-43B1-8056-5359D68D1B4F}" destId="{855F6275-9653-4E64-953F-F03D94C52F30}" srcOrd="0" destOrd="0" presId="urn:microsoft.com/office/officeart/2005/8/layout/hList1"/>
    <dgm:cxn modelId="{E9392862-E439-4F7F-A27C-A1694EB859E7}" srcId="{78313352-7F37-49F1-AF78-C2887D70FAFB}" destId="{DA5280FB-5CF3-429A-B389-EA4E0F4DBC9C}" srcOrd="0" destOrd="0" parTransId="{C5C238AC-7BCB-4BB8-9D0C-C530664F65EB}" sibTransId="{EFB7E603-B03C-4306-8EE1-E7F55DE3248B}"/>
    <dgm:cxn modelId="{780C8B62-8136-4003-BB4E-E6B8D27175D8}" srcId="{DA5280FB-5CF3-429A-B389-EA4E0F4DBC9C}" destId="{795D899F-59F2-4D7F-A5AE-0C3B371D4FBC}" srcOrd="1" destOrd="0" parTransId="{FF2934C0-02DE-444B-A59C-D89BBF0CD429}" sibTransId="{D546C90C-51F0-4AD0-9DD7-469C840CF2CF}"/>
    <dgm:cxn modelId="{C1F8AB43-887C-4A47-9B69-045C43532357}" type="presOf" srcId="{DA5280FB-5CF3-429A-B389-EA4E0F4DBC9C}" destId="{E3D6E35A-DD82-4B45-81A9-80ACE1A02143}" srcOrd="0" destOrd="0" presId="urn:microsoft.com/office/officeart/2005/8/layout/hList1"/>
    <dgm:cxn modelId="{7C46937B-DAB2-4DC3-82D7-B35CCE9B4A90}" srcId="{59A8A362-BAE7-413F-97BC-75E6D0D489E5}" destId="{6005A7D6-F4C2-4F4D-985C-DE4C62A1777B}" srcOrd="2" destOrd="0" parTransId="{17484AE1-B853-4240-9F55-43768248CCAC}" sibTransId="{AE4FC718-A254-449B-9AB3-3C16A022FE85}"/>
    <dgm:cxn modelId="{F1530FA7-6A79-4ABE-AFE2-89A2F86CD044}" srcId="{59A8A362-BAE7-413F-97BC-75E6D0D489E5}" destId="{BE4D3FB1-2ECA-43B1-8056-5359D68D1B4F}" srcOrd="0" destOrd="0" parTransId="{AAFAE3CF-C305-41CA-B6CB-B497AF52F579}" sibTransId="{A3DE5026-E120-4D4E-9C12-2701EFB83F2B}"/>
    <dgm:cxn modelId="{A7AA90AF-8C7B-483E-B0ED-2D07E9677F41}" type="presOf" srcId="{F418414F-45AA-44C3-BA5E-38625DE2D6D6}" destId="{855F6275-9653-4E64-953F-F03D94C52F30}" srcOrd="0" destOrd="1" presId="urn:microsoft.com/office/officeart/2005/8/layout/hList1"/>
    <dgm:cxn modelId="{7C88E3B2-BF32-4B4C-8227-B147B8E1ED4F}" type="presOf" srcId="{78313352-7F37-49F1-AF78-C2887D70FAFB}" destId="{6597FEAB-27E6-4E14-A3D2-A8255106EC1E}" srcOrd="0" destOrd="0" presId="urn:microsoft.com/office/officeart/2005/8/layout/hList1"/>
    <dgm:cxn modelId="{3453DABA-DFE6-4860-9463-E7C4AFF64CDE}" type="presOf" srcId="{311A4162-F4E6-496E-A2DB-495B1647157D}" destId="{80D9EE47-E1BA-4623-99E0-21A122EB8B19}" srcOrd="0" destOrd="2" presId="urn:microsoft.com/office/officeart/2005/8/layout/hList1"/>
    <dgm:cxn modelId="{C6D297D3-B7E5-471C-A8D5-7B59C957E1A0}" srcId="{59A8A362-BAE7-413F-97BC-75E6D0D489E5}" destId="{F418414F-45AA-44C3-BA5E-38625DE2D6D6}" srcOrd="1" destOrd="0" parTransId="{D73456A4-FA6F-4C59-8271-907C8A708C56}" sibTransId="{19DD0F58-6D0D-4EC8-8622-B7E2BD14CCB0}"/>
    <dgm:cxn modelId="{9BA2DF60-D00F-4724-886E-3F0E07F77FE4}" type="presParOf" srcId="{6597FEAB-27E6-4E14-A3D2-A8255106EC1E}" destId="{2382B9B7-85D6-4134-A3B4-B0E287787796}" srcOrd="0" destOrd="0" presId="urn:microsoft.com/office/officeart/2005/8/layout/hList1"/>
    <dgm:cxn modelId="{A16B8593-B031-4D32-BEDA-F38238988E9B}" type="presParOf" srcId="{2382B9B7-85D6-4134-A3B4-B0E287787796}" destId="{E3D6E35A-DD82-4B45-81A9-80ACE1A02143}" srcOrd="0" destOrd="0" presId="urn:microsoft.com/office/officeart/2005/8/layout/hList1"/>
    <dgm:cxn modelId="{E48D4BBB-6F87-4134-A9A3-E9C1706DC0A5}" type="presParOf" srcId="{2382B9B7-85D6-4134-A3B4-B0E287787796}" destId="{80D9EE47-E1BA-4623-99E0-21A122EB8B19}" srcOrd="1" destOrd="0" presId="urn:microsoft.com/office/officeart/2005/8/layout/hList1"/>
    <dgm:cxn modelId="{CB2A086F-C4AD-4CB3-8E9A-77FADF787CC6}" type="presParOf" srcId="{6597FEAB-27E6-4E14-A3D2-A8255106EC1E}" destId="{B21F3B9E-5DE0-478B-918E-3E2F097A7946}" srcOrd="1" destOrd="0" presId="urn:microsoft.com/office/officeart/2005/8/layout/hList1"/>
    <dgm:cxn modelId="{DF20A446-CAB6-4579-805E-63F8729B6088}" type="presParOf" srcId="{6597FEAB-27E6-4E14-A3D2-A8255106EC1E}" destId="{6758443D-BE87-438A-86DA-39ED9B42777E}" srcOrd="2" destOrd="0" presId="urn:microsoft.com/office/officeart/2005/8/layout/hList1"/>
    <dgm:cxn modelId="{B744706D-8FAC-4B1E-843E-28F73E3F29A5}" type="presParOf" srcId="{6758443D-BE87-438A-86DA-39ED9B42777E}" destId="{59019A88-07A4-43D8-88C4-9BF209DC27E5}" srcOrd="0" destOrd="0" presId="urn:microsoft.com/office/officeart/2005/8/layout/hList1"/>
    <dgm:cxn modelId="{674CB1BA-47B8-450E-B7CA-F627AFBCD2EB}" type="presParOf" srcId="{6758443D-BE87-438A-86DA-39ED9B42777E}" destId="{855F6275-9653-4E64-953F-F03D94C52F30}"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75A7857-AFC9-440A-B812-29B165F35446}" type="doc">
      <dgm:prSet loTypeId="urn:microsoft.com/office/officeart/2005/8/layout/vList2" loCatId="list" qsTypeId="urn:microsoft.com/office/officeart/2005/8/quickstyle/simple4" qsCatId="simple" csTypeId="urn:microsoft.com/office/officeart/2005/8/colors/accent4_2" csCatId="accent4" phldr="1"/>
      <dgm:spPr/>
      <dgm:t>
        <a:bodyPr/>
        <a:lstStyle/>
        <a:p>
          <a:endParaRPr lang="en-US"/>
        </a:p>
      </dgm:t>
    </dgm:pt>
    <dgm:pt modelId="{CA70712A-3327-40E8-A98D-0B86248B705D}">
      <dgm:prSet/>
      <dgm:spPr/>
      <dgm:t>
        <a:bodyPr/>
        <a:lstStyle/>
        <a:p>
          <a:r>
            <a:rPr lang="en-US" b="0" i="0"/>
            <a:t>Harboring -- Subsection 1324(a)(1)(A)(iii) makes it an offense for any person who -- knowing or in reckless disregard of the fact that an alien has come to, entered, or remains in the United States in violation of law, conceals harbors, or shields from detection, or attempts to conceal, harbor, or shield from detection, such alien in any place, including any building or any means of transportation.</a:t>
          </a:r>
          <a:endParaRPr lang="en-US"/>
        </a:p>
      </dgm:t>
    </dgm:pt>
    <dgm:pt modelId="{E7477F81-EBCE-42B0-999E-135D2F18A36F}" type="parTrans" cxnId="{AA178C2C-F35D-4E30-904B-A4BA0A862662}">
      <dgm:prSet/>
      <dgm:spPr/>
      <dgm:t>
        <a:bodyPr/>
        <a:lstStyle/>
        <a:p>
          <a:endParaRPr lang="en-US"/>
        </a:p>
      </dgm:t>
    </dgm:pt>
    <dgm:pt modelId="{825F5756-2D37-45E5-9148-E89247294CC0}" type="sibTrans" cxnId="{AA178C2C-F35D-4E30-904B-A4BA0A862662}">
      <dgm:prSet/>
      <dgm:spPr/>
      <dgm:t>
        <a:bodyPr/>
        <a:lstStyle/>
        <a:p>
          <a:endParaRPr lang="en-US"/>
        </a:p>
      </dgm:t>
    </dgm:pt>
    <dgm:pt modelId="{BC66BE9B-9365-4123-B476-7F308F337C46}" type="pres">
      <dgm:prSet presAssocID="{975A7857-AFC9-440A-B812-29B165F35446}" presName="linear" presStyleCnt="0">
        <dgm:presLayoutVars>
          <dgm:animLvl val="lvl"/>
          <dgm:resizeHandles val="exact"/>
        </dgm:presLayoutVars>
      </dgm:prSet>
      <dgm:spPr/>
    </dgm:pt>
    <dgm:pt modelId="{BBED4A59-B821-4DC6-95DF-AB53709D5043}" type="pres">
      <dgm:prSet presAssocID="{CA70712A-3327-40E8-A98D-0B86248B705D}" presName="parentText" presStyleLbl="node1" presStyleIdx="0" presStyleCnt="1">
        <dgm:presLayoutVars>
          <dgm:chMax val="0"/>
          <dgm:bulletEnabled val="1"/>
        </dgm:presLayoutVars>
      </dgm:prSet>
      <dgm:spPr/>
    </dgm:pt>
  </dgm:ptLst>
  <dgm:cxnLst>
    <dgm:cxn modelId="{AA178C2C-F35D-4E30-904B-A4BA0A862662}" srcId="{975A7857-AFC9-440A-B812-29B165F35446}" destId="{CA70712A-3327-40E8-A98D-0B86248B705D}" srcOrd="0" destOrd="0" parTransId="{E7477F81-EBCE-42B0-999E-135D2F18A36F}" sibTransId="{825F5756-2D37-45E5-9148-E89247294CC0}"/>
    <dgm:cxn modelId="{ACB1D894-46BE-4ECD-9E78-DE6F9D3823F6}" type="presOf" srcId="{CA70712A-3327-40E8-A98D-0B86248B705D}" destId="{BBED4A59-B821-4DC6-95DF-AB53709D5043}" srcOrd="0" destOrd="0" presId="urn:microsoft.com/office/officeart/2005/8/layout/vList2"/>
    <dgm:cxn modelId="{CEF849AF-6A6A-4F13-9D48-062FA4876A58}" type="presOf" srcId="{975A7857-AFC9-440A-B812-29B165F35446}" destId="{BC66BE9B-9365-4123-B476-7F308F337C46}" srcOrd="0" destOrd="0" presId="urn:microsoft.com/office/officeart/2005/8/layout/vList2"/>
    <dgm:cxn modelId="{FD739EB0-068E-41CB-9B27-FC3EF6C6BA63}" type="presParOf" srcId="{BC66BE9B-9365-4123-B476-7F308F337C46}" destId="{BBED4A59-B821-4DC6-95DF-AB53709D504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45758A4-588C-403A-B61A-83DC345C8AB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D49CAF1-D845-48BD-98E6-479616783BE8}">
      <dgm:prSet/>
      <dgm:spPr/>
      <dgm:t>
        <a:bodyPr/>
        <a:lstStyle/>
        <a:p>
          <a:r>
            <a:rPr lang="en-US"/>
            <a:t>Lawful assistance provided to a person who has documented or pending legal status. </a:t>
          </a:r>
        </a:p>
      </dgm:t>
    </dgm:pt>
    <dgm:pt modelId="{99EF7BA8-E62B-49BC-A14E-801D398FE0D7}" type="parTrans" cxnId="{370DCF1B-021C-46E0-BEC2-03DE91DAFFA8}">
      <dgm:prSet/>
      <dgm:spPr/>
      <dgm:t>
        <a:bodyPr/>
        <a:lstStyle/>
        <a:p>
          <a:endParaRPr lang="en-US"/>
        </a:p>
      </dgm:t>
    </dgm:pt>
    <dgm:pt modelId="{84B20750-1CB2-4854-8C6A-336EFF8ADC1B}" type="sibTrans" cxnId="{370DCF1B-021C-46E0-BEC2-03DE91DAFFA8}">
      <dgm:prSet/>
      <dgm:spPr/>
      <dgm:t>
        <a:bodyPr/>
        <a:lstStyle/>
        <a:p>
          <a:endParaRPr lang="en-US"/>
        </a:p>
      </dgm:t>
    </dgm:pt>
    <dgm:pt modelId="{CBCF1903-4D92-48F2-A8DF-8A90643FF7F5}">
      <dgm:prSet/>
      <dgm:spPr/>
      <dgm:t>
        <a:bodyPr/>
        <a:lstStyle/>
        <a:p>
          <a:r>
            <a:rPr lang="en-US"/>
            <a:t>Any help provided for basic human needs such as food, clothing, etc. that is NOT intended to hide the undocumented person from ICE.</a:t>
          </a:r>
        </a:p>
      </dgm:t>
    </dgm:pt>
    <dgm:pt modelId="{6CAD6B14-C1C2-4CD8-8C13-7FC0EBEB417E}" type="parTrans" cxnId="{80C4C2F5-B6B5-490F-A960-3C66ADEC4745}">
      <dgm:prSet/>
      <dgm:spPr/>
      <dgm:t>
        <a:bodyPr/>
        <a:lstStyle/>
        <a:p>
          <a:endParaRPr lang="en-US"/>
        </a:p>
      </dgm:t>
    </dgm:pt>
    <dgm:pt modelId="{BCC50839-6A61-46BB-AD0E-949126AD8B1D}" type="sibTrans" cxnId="{80C4C2F5-B6B5-490F-A960-3C66ADEC4745}">
      <dgm:prSet/>
      <dgm:spPr/>
      <dgm:t>
        <a:bodyPr/>
        <a:lstStyle/>
        <a:p>
          <a:endParaRPr lang="en-US"/>
        </a:p>
      </dgm:t>
    </dgm:pt>
    <dgm:pt modelId="{13D64626-8C9C-484A-A1C4-6D962CDBF841}">
      <dgm:prSet/>
      <dgm:spPr/>
      <dgm:t>
        <a:bodyPr/>
        <a:lstStyle/>
        <a:p>
          <a:r>
            <a:rPr lang="en-US"/>
            <a:t>Legal assistance designed to obtain lawful status.</a:t>
          </a:r>
        </a:p>
      </dgm:t>
    </dgm:pt>
    <dgm:pt modelId="{B65486E4-1FBB-40A3-A97D-2D26E7BF53FE}" type="parTrans" cxnId="{29DC92A1-3617-4BCF-8AE9-8DA425A2FA33}">
      <dgm:prSet/>
      <dgm:spPr/>
      <dgm:t>
        <a:bodyPr/>
        <a:lstStyle/>
        <a:p>
          <a:endParaRPr lang="en-US"/>
        </a:p>
      </dgm:t>
    </dgm:pt>
    <dgm:pt modelId="{3D83FA49-8CD3-430D-9792-58E9466E3A9D}" type="sibTrans" cxnId="{29DC92A1-3617-4BCF-8AE9-8DA425A2FA33}">
      <dgm:prSet/>
      <dgm:spPr/>
      <dgm:t>
        <a:bodyPr/>
        <a:lstStyle/>
        <a:p>
          <a:endParaRPr lang="en-US"/>
        </a:p>
      </dgm:t>
    </dgm:pt>
    <dgm:pt modelId="{762605B3-D5A0-44A1-85B0-F25DD33E8E33}">
      <dgm:prSet/>
      <dgm:spPr/>
      <dgm:t>
        <a:bodyPr/>
        <a:lstStyle/>
        <a:p>
          <a:pPr rtl="0"/>
          <a:r>
            <a:rPr lang="en-US"/>
            <a:t>Neighborhood watches that assist everyone and</a:t>
          </a:r>
          <a:r>
            <a:rPr lang="en-US">
              <a:latin typeface="Arial"/>
            </a:rPr>
            <a:t> are</a:t>
          </a:r>
          <a:r>
            <a:rPr lang="en-US"/>
            <a:t> not intended to assist individuals to remain in violation of the law.</a:t>
          </a:r>
        </a:p>
      </dgm:t>
    </dgm:pt>
    <dgm:pt modelId="{E953B141-6976-4971-A938-23122B1D5EA0}" type="parTrans" cxnId="{BC53EF6D-AD95-4F41-AB64-2D1C445B5EBC}">
      <dgm:prSet/>
      <dgm:spPr/>
      <dgm:t>
        <a:bodyPr/>
        <a:lstStyle/>
        <a:p>
          <a:endParaRPr lang="en-US"/>
        </a:p>
      </dgm:t>
    </dgm:pt>
    <dgm:pt modelId="{10480CF3-2759-447F-A7AB-A7256E22B5BD}" type="sibTrans" cxnId="{BC53EF6D-AD95-4F41-AB64-2D1C445B5EBC}">
      <dgm:prSet/>
      <dgm:spPr/>
      <dgm:t>
        <a:bodyPr/>
        <a:lstStyle/>
        <a:p>
          <a:endParaRPr lang="en-US"/>
        </a:p>
      </dgm:t>
    </dgm:pt>
    <dgm:pt modelId="{DF22FCFB-18A7-4F4C-8A1E-E67CE4C708AB}" type="pres">
      <dgm:prSet presAssocID="{945758A4-588C-403A-B61A-83DC345C8ABF}" presName="vert0" presStyleCnt="0">
        <dgm:presLayoutVars>
          <dgm:dir/>
          <dgm:animOne val="branch"/>
          <dgm:animLvl val="lvl"/>
        </dgm:presLayoutVars>
      </dgm:prSet>
      <dgm:spPr/>
    </dgm:pt>
    <dgm:pt modelId="{590D5512-AB26-4293-8F83-9AF50A7D7F22}" type="pres">
      <dgm:prSet presAssocID="{DD49CAF1-D845-48BD-98E6-479616783BE8}" presName="thickLine" presStyleLbl="alignNode1" presStyleIdx="0" presStyleCnt="4"/>
      <dgm:spPr/>
    </dgm:pt>
    <dgm:pt modelId="{07CB5700-68CE-4F0F-85F2-EC699D28602F}" type="pres">
      <dgm:prSet presAssocID="{DD49CAF1-D845-48BD-98E6-479616783BE8}" presName="horz1" presStyleCnt="0"/>
      <dgm:spPr/>
    </dgm:pt>
    <dgm:pt modelId="{84F9E81A-85D8-40DA-9E06-D9639F805B2A}" type="pres">
      <dgm:prSet presAssocID="{DD49CAF1-D845-48BD-98E6-479616783BE8}" presName="tx1" presStyleLbl="revTx" presStyleIdx="0" presStyleCnt="4"/>
      <dgm:spPr/>
    </dgm:pt>
    <dgm:pt modelId="{FA6232DF-1C2B-4637-86BC-032019B9982E}" type="pres">
      <dgm:prSet presAssocID="{DD49CAF1-D845-48BD-98E6-479616783BE8}" presName="vert1" presStyleCnt="0"/>
      <dgm:spPr/>
    </dgm:pt>
    <dgm:pt modelId="{F7C7487C-45A6-42DC-B0C1-566E4B370F2D}" type="pres">
      <dgm:prSet presAssocID="{CBCF1903-4D92-48F2-A8DF-8A90643FF7F5}" presName="thickLine" presStyleLbl="alignNode1" presStyleIdx="1" presStyleCnt="4"/>
      <dgm:spPr/>
    </dgm:pt>
    <dgm:pt modelId="{101D084C-E94A-44F2-A197-081876DD3E20}" type="pres">
      <dgm:prSet presAssocID="{CBCF1903-4D92-48F2-A8DF-8A90643FF7F5}" presName="horz1" presStyleCnt="0"/>
      <dgm:spPr/>
    </dgm:pt>
    <dgm:pt modelId="{AF0DF25E-B973-475B-9224-CEC674A46BF6}" type="pres">
      <dgm:prSet presAssocID="{CBCF1903-4D92-48F2-A8DF-8A90643FF7F5}" presName="tx1" presStyleLbl="revTx" presStyleIdx="1" presStyleCnt="4"/>
      <dgm:spPr/>
    </dgm:pt>
    <dgm:pt modelId="{6668CA01-3ACE-4963-98EE-4B1B90FA65EB}" type="pres">
      <dgm:prSet presAssocID="{CBCF1903-4D92-48F2-A8DF-8A90643FF7F5}" presName="vert1" presStyleCnt="0"/>
      <dgm:spPr/>
    </dgm:pt>
    <dgm:pt modelId="{873DA7EF-4671-41D9-93CC-889B12A5FCAF}" type="pres">
      <dgm:prSet presAssocID="{13D64626-8C9C-484A-A1C4-6D962CDBF841}" presName="thickLine" presStyleLbl="alignNode1" presStyleIdx="2" presStyleCnt="4"/>
      <dgm:spPr/>
    </dgm:pt>
    <dgm:pt modelId="{27E4BF4A-9B70-4372-9B77-4E9CCC9B6F35}" type="pres">
      <dgm:prSet presAssocID="{13D64626-8C9C-484A-A1C4-6D962CDBF841}" presName="horz1" presStyleCnt="0"/>
      <dgm:spPr/>
    </dgm:pt>
    <dgm:pt modelId="{1C16F1DB-32CD-4F4C-AA7C-B488F3F09CA2}" type="pres">
      <dgm:prSet presAssocID="{13D64626-8C9C-484A-A1C4-6D962CDBF841}" presName="tx1" presStyleLbl="revTx" presStyleIdx="2" presStyleCnt="4"/>
      <dgm:spPr/>
    </dgm:pt>
    <dgm:pt modelId="{0D18F8C0-D5D3-4E1B-9F7E-D88F1E031019}" type="pres">
      <dgm:prSet presAssocID="{13D64626-8C9C-484A-A1C4-6D962CDBF841}" presName="vert1" presStyleCnt="0"/>
      <dgm:spPr/>
    </dgm:pt>
    <dgm:pt modelId="{B74984A4-C60E-4F41-8242-59663684E1A6}" type="pres">
      <dgm:prSet presAssocID="{762605B3-D5A0-44A1-85B0-F25DD33E8E33}" presName="thickLine" presStyleLbl="alignNode1" presStyleIdx="3" presStyleCnt="4"/>
      <dgm:spPr/>
    </dgm:pt>
    <dgm:pt modelId="{3B7F71D2-B753-445C-BD06-855D565C3198}" type="pres">
      <dgm:prSet presAssocID="{762605B3-D5A0-44A1-85B0-F25DD33E8E33}" presName="horz1" presStyleCnt="0"/>
      <dgm:spPr/>
    </dgm:pt>
    <dgm:pt modelId="{1B633B73-21E3-45CC-89F6-30908422FE89}" type="pres">
      <dgm:prSet presAssocID="{762605B3-D5A0-44A1-85B0-F25DD33E8E33}" presName="tx1" presStyleLbl="revTx" presStyleIdx="3" presStyleCnt="4"/>
      <dgm:spPr/>
    </dgm:pt>
    <dgm:pt modelId="{6C9E0F6C-BB8C-43F7-BE6B-4B1E87D6B888}" type="pres">
      <dgm:prSet presAssocID="{762605B3-D5A0-44A1-85B0-F25DD33E8E33}" presName="vert1" presStyleCnt="0"/>
      <dgm:spPr/>
    </dgm:pt>
  </dgm:ptLst>
  <dgm:cxnLst>
    <dgm:cxn modelId="{370DCF1B-021C-46E0-BEC2-03DE91DAFFA8}" srcId="{945758A4-588C-403A-B61A-83DC345C8ABF}" destId="{DD49CAF1-D845-48BD-98E6-479616783BE8}" srcOrd="0" destOrd="0" parTransId="{99EF7BA8-E62B-49BC-A14E-801D398FE0D7}" sibTransId="{84B20750-1CB2-4854-8C6A-336EFF8ADC1B}"/>
    <dgm:cxn modelId="{FFBE3D28-37E6-4D7E-A05E-54929C38FAE7}" type="presOf" srcId="{CBCF1903-4D92-48F2-A8DF-8A90643FF7F5}" destId="{AF0DF25E-B973-475B-9224-CEC674A46BF6}" srcOrd="0" destOrd="0" presId="urn:microsoft.com/office/officeart/2008/layout/LinedList"/>
    <dgm:cxn modelId="{D575E041-ADF7-4A5C-A8AF-D0A0A33E9D0F}" type="presOf" srcId="{762605B3-D5A0-44A1-85B0-F25DD33E8E33}" destId="{1B633B73-21E3-45CC-89F6-30908422FE89}" srcOrd="0" destOrd="0" presId="urn:microsoft.com/office/officeart/2008/layout/LinedList"/>
    <dgm:cxn modelId="{BC53EF6D-AD95-4F41-AB64-2D1C445B5EBC}" srcId="{945758A4-588C-403A-B61A-83DC345C8ABF}" destId="{762605B3-D5A0-44A1-85B0-F25DD33E8E33}" srcOrd="3" destOrd="0" parTransId="{E953B141-6976-4971-A938-23122B1D5EA0}" sibTransId="{10480CF3-2759-447F-A7AB-A7256E22B5BD}"/>
    <dgm:cxn modelId="{29DC92A1-3617-4BCF-8AE9-8DA425A2FA33}" srcId="{945758A4-588C-403A-B61A-83DC345C8ABF}" destId="{13D64626-8C9C-484A-A1C4-6D962CDBF841}" srcOrd="2" destOrd="0" parTransId="{B65486E4-1FBB-40A3-A97D-2D26E7BF53FE}" sibTransId="{3D83FA49-8CD3-430D-9792-58E9466E3A9D}"/>
    <dgm:cxn modelId="{D16AA7B8-6AF0-42C3-9412-A29EB00FAD1A}" type="presOf" srcId="{DD49CAF1-D845-48BD-98E6-479616783BE8}" destId="{84F9E81A-85D8-40DA-9E06-D9639F805B2A}" srcOrd="0" destOrd="0" presId="urn:microsoft.com/office/officeart/2008/layout/LinedList"/>
    <dgm:cxn modelId="{903A66DC-B08B-45C7-B75E-504421C43DD4}" type="presOf" srcId="{945758A4-588C-403A-B61A-83DC345C8ABF}" destId="{DF22FCFB-18A7-4F4C-8A1E-E67CE4C708AB}" srcOrd="0" destOrd="0" presId="urn:microsoft.com/office/officeart/2008/layout/LinedList"/>
    <dgm:cxn modelId="{80C4C2F5-B6B5-490F-A960-3C66ADEC4745}" srcId="{945758A4-588C-403A-B61A-83DC345C8ABF}" destId="{CBCF1903-4D92-48F2-A8DF-8A90643FF7F5}" srcOrd="1" destOrd="0" parTransId="{6CAD6B14-C1C2-4CD8-8C13-7FC0EBEB417E}" sibTransId="{BCC50839-6A61-46BB-AD0E-949126AD8B1D}"/>
    <dgm:cxn modelId="{2C08F7FD-C754-42A0-A420-23D597E34C1F}" type="presOf" srcId="{13D64626-8C9C-484A-A1C4-6D962CDBF841}" destId="{1C16F1DB-32CD-4F4C-AA7C-B488F3F09CA2}" srcOrd="0" destOrd="0" presId="urn:microsoft.com/office/officeart/2008/layout/LinedList"/>
    <dgm:cxn modelId="{1BC96785-8B08-47A6-A2C9-DAAFBAF7854B}" type="presParOf" srcId="{DF22FCFB-18A7-4F4C-8A1E-E67CE4C708AB}" destId="{590D5512-AB26-4293-8F83-9AF50A7D7F22}" srcOrd="0" destOrd="0" presId="urn:microsoft.com/office/officeart/2008/layout/LinedList"/>
    <dgm:cxn modelId="{5C3C02FE-FC94-4F2F-B6FB-69C70B7BB7FC}" type="presParOf" srcId="{DF22FCFB-18A7-4F4C-8A1E-E67CE4C708AB}" destId="{07CB5700-68CE-4F0F-85F2-EC699D28602F}" srcOrd="1" destOrd="0" presId="urn:microsoft.com/office/officeart/2008/layout/LinedList"/>
    <dgm:cxn modelId="{BF882431-0101-4C33-870B-6D68C60DFF38}" type="presParOf" srcId="{07CB5700-68CE-4F0F-85F2-EC699D28602F}" destId="{84F9E81A-85D8-40DA-9E06-D9639F805B2A}" srcOrd="0" destOrd="0" presId="urn:microsoft.com/office/officeart/2008/layout/LinedList"/>
    <dgm:cxn modelId="{992FC495-0259-4F4A-88B8-24E98E99834D}" type="presParOf" srcId="{07CB5700-68CE-4F0F-85F2-EC699D28602F}" destId="{FA6232DF-1C2B-4637-86BC-032019B9982E}" srcOrd="1" destOrd="0" presId="urn:microsoft.com/office/officeart/2008/layout/LinedList"/>
    <dgm:cxn modelId="{56BFFAEC-38B9-40E4-B250-A9DBAD31546D}" type="presParOf" srcId="{DF22FCFB-18A7-4F4C-8A1E-E67CE4C708AB}" destId="{F7C7487C-45A6-42DC-B0C1-566E4B370F2D}" srcOrd="2" destOrd="0" presId="urn:microsoft.com/office/officeart/2008/layout/LinedList"/>
    <dgm:cxn modelId="{D5CA752E-662A-4E5F-A78D-87569447BBAD}" type="presParOf" srcId="{DF22FCFB-18A7-4F4C-8A1E-E67CE4C708AB}" destId="{101D084C-E94A-44F2-A197-081876DD3E20}" srcOrd="3" destOrd="0" presId="urn:microsoft.com/office/officeart/2008/layout/LinedList"/>
    <dgm:cxn modelId="{A4E0DB26-AFC8-4572-B919-A6542ABD01CF}" type="presParOf" srcId="{101D084C-E94A-44F2-A197-081876DD3E20}" destId="{AF0DF25E-B973-475B-9224-CEC674A46BF6}" srcOrd="0" destOrd="0" presId="urn:microsoft.com/office/officeart/2008/layout/LinedList"/>
    <dgm:cxn modelId="{AEE821BD-6C71-4D98-BD5A-B1359FDB9996}" type="presParOf" srcId="{101D084C-E94A-44F2-A197-081876DD3E20}" destId="{6668CA01-3ACE-4963-98EE-4B1B90FA65EB}" srcOrd="1" destOrd="0" presId="urn:microsoft.com/office/officeart/2008/layout/LinedList"/>
    <dgm:cxn modelId="{CDD863A1-9E79-4075-8E1E-4C294B01B13E}" type="presParOf" srcId="{DF22FCFB-18A7-4F4C-8A1E-E67CE4C708AB}" destId="{873DA7EF-4671-41D9-93CC-889B12A5FCAF}" srcOrd="4" destOrd="0" presId="urn:microsoft.com/office/officeart/2008/layout/LinedList"/>
    <dgm:cxn modelId="{0161624D-BE0C-4E5A-B47B-31BDCF3EE232}" type="presParOf" srcId="{DF22FCFB-18A7-4F4C-8A1E-E67CE4C708AB}" destId="{27E4BF4A-9B70-4372-9B77-4E9CCC9B6F35}" srcOrd="5" destOrd="0" presId="urn:microsoft.com/office/officeart/2008/layout/LinedList"/>
    <dgm:cxn modelId="{5823CA70-1E8A-4DF2-970C-B7597A05D030}" type="presParOf" srcId="{27E4BF4A-9B70-4372-9B77-4E9CCC9B6F35}" destId="{1C16F1DB-32CD-4F4C-AA7C-B488F3F09CA2}" srcOrd="0" destOrd="0" presId="urn:microsoft.com/office/officeart/2008/layout/LinedList"/>
    <dgm:cxn modelId="{4AEB7C93-181B-49F7-AC59-F25EE2BACF33}" type="presParOf" srcId="{27E4BF4A-9B70-4372-9B77-4E9CCC9B6F35}" destId="{0D18F8C0-D5D3-4E1B-9F7E-D88F1E031019}" srcOrd="1" destOrd="0" presId="urn:microsoft.com/office/officeart/2008/layout/LinedList"/>
    <dgm:cxn modelId="{0762D159-0DC1-4626-AC6C-F2D9C18DB382}" type="presParOf" srcId="{DF22FCFB-18A7-4F4C-8A1E-E67CE4C708AB}" destId="{B74984A4-C60E-4F41-8242-59663684E1A6}" srcOrd="6" destOrd="0" presId="urn:microsoft.com/office/officeart/2008/layout/LinedList"/>
    <dgm:cxn modelId="{EF2A3EF4-54A7-4FB7-88EF-71EEF8897AA2}" type="presParOf" srcId="{DF22FCFB-18A7-4F4C-8A1E-E67CE4C708AB}" destId="{3B7F71D2-B753-445C-BD06-855D565C3198}" srcOrd="7" destOrd="0" presId="urn:microsoft.com/office/officeart/2008/layout/LinedList"/>
    <dgm:cxn modelId="{4B5D7861-FBB1-4FDD-9FBD-7406F0B5788D}" type="presParOf" srcId="{3B7F71D2-B753-445C-BD06-855D565C3198}" destId="{1B633B73-21E3-45CC-89F6-30908422FE89}" srcOrd="0" destOrd="0" presId="urn:microsoft.com/office/officeart/2008/layout/LinedList"/>
    <dgm:cxn modelId="{9D71CA5D-7DEB-40B5-A781-0CDA02C0F625}" type="presParOf" srcId="{3B7F71D2-B753-445C-BD06-855D565C3198}" destId="{6C9E0F6C-BB8C-43F7-BE6B-4B1E87D6B888}"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8313352-7F37-49F1-AF78-C2887D70FA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9A8A362-BAE7-413F-97BC-75E6D0D489E5}">
      <dgm:prSet custT="1"/>
      <dgm:spPr/>
      <dgm:t>
        <a:bodyPr/>
        <a:lstStyle/>
        <a:p>
          <a:r>
            <a:rPr lang="en-US" sz="2400" b="1" i="1"/>
            <a:t>Safety Protocols: During Event</a:t>
          </a:r>
          <a:endParaRPr lang="en-US" sz="2400"/>
        </a:p>
      </dgm:t>
    </dgm:pt>
    <dgm:pt modelId="{ECB8672F-B6AD-477F-8D09-7F1685EFD70D}" type="parTrans" cxnId="{89A3B10D-AC8E-4F49-8E1D-D3051FAB23F3}">
      <dgm:prSet/>
      <dgm:spPr/>
      <dgm:t>
        <a:bodyPr/>
        <a:lstStyle/>
        <a:p>
          <a:endParaRPr lang="en-US"/>
        </a:p>
      </dgm:t>
    </dgm:pt>
    <dgm:pt modelId="{F8B4CB0F-DF7D-4632-A74C-4711EA0F820F}" type="sibTrans" cxnId="{89A3B10D-AC8E-4F49-8E1D-D3051FAB23F3}">
      <dgm:prSet/>
      <dgm:spPr/>
      <dgm:t>
        <a:bodyPr/>
        <a:lstStyle/>
        <a:p>
          <a:endParaRPr lang="en-US"/>
        </a:p>
      </dgm:t>
    </dgm:pt>
    <dgm:pt modelId="{0495B63D-BEED-4EFE-973D-50AF0FA353A6}">
      <dgm:prSet custT="1"/>
      <dgm:spPr/>
      <dgm:t>
        <a:bodyPr/>
        <a:lstStyle/>
        <a:p>
          <a:r>
            <a:rPr lang="en-US" sz="2400" b="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a:t>
          </a:r>
        </a:p>
      </dgm:t>
    </dgm:pt>
    <dgm:pt modelId="{89430307-D7E7-4878-8123-BD066E89488A}" type="parTrans" cxnId="{84E0D2C0-5340-4145-96F3-9ADD97847CED}">
      <dgm:prSet/>
      <dgm:spPr/>
      <dgm:t>
        <a:bodyPr/>
        <a:lstStyle/>
        <a:p>
          <a:endParaRPr lang="en-US"/>
        </a:p>
      </dgm:t>
    </dgm:pt>
    <dgm:pt modelId="{896493FF-2B72-4CDB-B0BC-3A8E9E48E0AF}" type="sibTrans" cxnId="{84E0D2C0-5340-4145-96F3-9ADD97847CED}">
      <dgm:prSet/>
      <dgm:spPr/>
      <dgm:t>
        <a:bodyPr/>
        <a:lstStyle/>
        <a:p>
          <a:endParaRPr lang="en-US"/>
        </a:p>
      </dgm:t>
    </dgm:pt>
    <dgm:pt modelId="{E311A431-133B-4A8E-9283-AF6B0645E2F7}">
      <dgm:prSet custT="1"/>
      <dgm:spPr/>
      <dgm:t>
        <a:bodyPr/>
        <a:lstStyle/>
        <a:p>
          <a:r>
            <a:rPr lang="en-US" sz="2200">
              <a:latin typeface="Calibri" panose="020F0502020204030204" pitchFamily="34" charset="0"/>
              <a:ea typeface="Calibri" panose="020F0502020204030204" pitchFamily="34" charset="0"/>
              <a:cs typeface="Calibri" panose="020F0502020204030204" pitchFamily="34" charset="0"/>
            </a:rPr>
            <a:t>May consider soft lockdown (if consistent with school policy regarding law enforcement presence on school grounds)</a:t>
          </a:r>
          <a:endParaRPr lang="en-US" sz="2200" b="0">
            <a:solidFill>
              <a:schemeClr val="tx1"/>
            </a:solidFill>
            <a:latin typeface="Calibri" panose="020F0502020204030204" pitchFamily="34" charset="0"/>
            <a:ea typeface="Calibri" panose="020F0502020204030204" pitchFamily="34" charset="0"/>
            <a:cs typeface="Calibri" panose="020F0502020204030204" pitchFamily="34" charset="0"/>
          </a:endParaRPr>
        </a:p>
      </dgm:t>
    </dgm:pt>
    <dgm:pt modelId="{570954BF-6802-4DE4-9277-F5E1E1411949}" type="parTrans" cxnId="{E1494C8C-5979-47F8-B15D-DB5438D6C99B}">
      <dgm:prSet/>
      <dgm:spPr/>
      <dgm:t>
        <a:bodyPr/>
        <a:lstStyle/>
        <a:p>
          <a:endParaRPr lang="en-US"/>
        </a:p>
      </dgm:t>
    </dgm:pt>
    <dgm:pt modelId="{CC17B243-5FFF-496D-8622-423FF35D4422}" type="sibTrans" cxnId="{E1494C8C-5979-47F8-B15D-DB5438D6C99B}">
      <dgm:prSet/>
      <dgm:spPr/>
      <dgm:t>
        <a:bodyPr/>
        <a:lstStyle/>
        <a:p>
          <a:endParaRPr lang="en-US"/>
        </a:p>
      </dgm:t>
    </dgm:pt>
    <dgm:pt modelId="{D1F5DF30-F845-47F1-99E1-78365E11A946}">
      <dgm:prSet custT="1"/>
      <dgm:spPr/>
      <dgm:t>
        <a:bodyPr/>
        <a:lstStyle/>
        <a:p>
          <a:r>
            <a:rPr lang="en-US" sz="2800" b="1" i="1">
              <a:solidFill>
                <a:schemeClr val="bg1"/>
              </a:solidFill>
              <a:latin typeface="Calibri" panose="020F0502020204030204" pitchFamily="34" charset="0"/>
              <a:ea typeface="Calibri" panose="020F0502020204030204" pitchFamily="34" charset="0"/>
              <a:cs typeface="Calibri" panose="020F0502020204030204" pitchFamily="34" charset="0"/>
            </a:rPr>
            <a:t>Safety Protocols: After Event</a:t>
          </a:r>
          <a:endParaRPr lang="en-US" sz="2800" b="0" i="1">
            <a:solidFill>
              <a:schemeClr val="bg1"/>
            </a:solidFill>
            <a:latin typeface="Calibri" panose="020F0502020204030204" pitchFamily="34" charset="0"/>
            <a:ea typeface="Calibri" panose="020F0502020204030204" pitchFamily="34" charset="0"/>
            <a:cs typeface="Calibri" panose="020F0502020204030204" pitchFamily="34" charset="0"/>
          </a:endParaRPr>
        </a:p>
      </dgm:t>
    </dgm:pt>
    <dgm:pt modelId="{B0C07B93-5739-4E47-BC39-BFB95F340B4B}" type="sibTrans" cxnId="{332661F6-E72A-47EB-AAC3-624C362DD75F}">
      <dgm:prSet/>
      <dgm:spPr/>
      <dgm:t>
        <a:bodyPr/>
        <a:lstStyle/>
        <a:p>
          <a:endParaRPr lang="en-US"/>
        </a:p>
      </dgm:t>
    </dgm:pt>
    <dgm:pt modelId="{AEF4EA5E-CD93-4250-8C83-90F5EB0B4146}" type="parTrans" cxnId="{332661F6-E72A-47EB-AAC3-624C362DD75F}">
      <dgm:prSet/>
      <dgm:spPr/>
      <dgm:t>
        <a:bodyPr/>
        <a:lstStyle/>
        <a:p>
          <a:endParaRPr lang="en-US"/>
        </a:p>
      </dgm:t>
    </dgm:pt>
    <dgm:pt modelId="{E99AEBC6-E858-418F-BF57-448D7DC4C883}">
      <dgm:prSet custT="1"/>
      <dgm:spPr/>
      <dgm:t>
        <a:bodyPr/>
        <a:lstStyle/>
        <a:p>
          <a:r>
            <a:rPr lang="en-US" sz="2400" b="0">
              <a:solidFill>
                <a:schemeClr val="tx1"/>
              </a:solidFill>
              <a:latin typeface="Calibri" panose="020F0502020204030204" pitchFamily="34" charset="0"/>
              <a:ea typeface="Calibri" panose="020F0502020204030204" pitchFamily="34" charset="0"/>
              <a:cs typeface="Calibri" panose="020F0502020204030204" pitchFamily="34" charset="0"/>
            </a:rPr>
            <a:t>Maintain sensitivity and awareness regarding student absences, lack of engagement, and behavioral challenges in school</a:t>
          </a:r>
        </a:p>
      </dgm:t>
    </dgm:pt>
    <dgm:pt modelId="{FF7F0A51-786E-4BAC-97BD-276DDE789D25}" type="parTrans" cxnId="{22FA364D-0AC0-4722-9AD9-6CE0A450786A}">
      <dgm:prSet/>
      <dgm:spPr/>
      <dgm:t>
        <a:bodyPr/>
        <a:lstStyle/>
        <a:p>
          <a:endParaRPr lang="en-US"/>
        </a:p>
      </dgm:t>
    </dgm:pt>
    <dgm:pt modelId="{DC1C951C-0A98-437E-9BDE-57C9AE4DD86B}" type="sibTrans" cxnId="{22FA364D-0AC0-4722-9AD9-6CE0A450786A}">
      <dgm:prSet/>
      <dgm:spPr/>
      <dgm:t>
        <a:bodyPr/>
        <a:lstStyle/>
        <a:p>
          <a:endParaRPr lang="en-US"/>
        </a:p>
      </dgm:t>
    </dgm:pt>
    <dgm:pt modelId="{C330DB69-254C-4A5C-8051-AFC7D1C89849}">
      <dgm:prSet custT="1"/>
      <dgm:spPr/>
      <dgm:t>
        <a:bodyPr/>
        <a:lstStyle/>
        <a:p>
          <a:r>
            <a:rPr lang="en-US" sz="2200" b="0">
              <a:solidFill>
                <a:schemeClr val="tx1"/>
              </a:solidFill>
              <a:latin typeface="Calibri" panose="020F0502020204030204" pitchFamily="34" charset="0"/>
              <a:ea typeface="Calibri" panose="020F0502020204030204" pitchFamily="34" charset="0"/>
              <a:cs typeface="Calibri" panose="020F0502020204030204" pitchFamily="34" charset="0"/>
            </a:rPr>
            <a:t>If ICE is seeking access to a person inside the school building, they must present a judicial warrant. Contact central office and district counsel.</a:t>
          </a:r>
        </a:p>
      </dgm:t>
    </dgm:pt>
    <dgm:pt modelId="{41B433FC-4FDA-462F-8A3C-C28B9443D029}" type="parTrans" cxnId="{06C0F825-E878-433F-AD9A-17CAEEB2B6A6}">
      <dgm:prSet/>
      <dgm:spPr/>
      <dgm:t>
        <a:bodyPr/>
        <a:lstStyle/>
        <a:p>
          <a:endParaRPr lang="en-US"/>
        </a:p>
      </dgm:t>
    </dgm:pt>
    <dgm:pt modelId="{EDAE5EEF-0DAF-47A1-99ED-68B25B396A10}" type="sibTrans" cxnId="{06C0F825-E878-433F-AD9A-17CAEEB2B6A6}">
      <dgm:prSet/>
      <dgm:spPr/>
      <dgm:t>
        <a:bodyPr/>
        <a:lstStyle/>
        <a:p>
          <a:endParaRPr lang="en-US"/>
        </a:p>
      </dgm:t>
    </dgm:pt>
    <dgm:pt modelId="{6597FEAB-27E6-4E14-A3D2-A8255106EC1E}" type="pres">
      <dgm:prSet presAssocID="{78313352-7F37-49F1-AF78-C2887D70FAFB}" presName="Name0" presStyleCnt="0">
        <dgm:presLayoutVars>
          <dgm:dir/>
          <dgm:animLvl val="lvl"/>
          <dgm:resizeHandles val="exact"/>
        </dgm:presLayoutVars>
      </dgm:prSet>
      <dgm:spPr/>
    </dgm:pt>
    <dgm:pt modelId="{6758443D-BE87-438A-86DA-39ED9B42777E}" type="pres">
      <dgm:prSet presAssocID="{59A8A362-BAE7-413F-97BC-75E6D0D489E5}" presName="composite" presStyleCnt="0"/>
      <dgm:spPr/>
    </dgm:pt>
    <dgm:pt modelId="{59019A88-07A4-43D8-88C4-9BF209DC27E5}" type="pres">
      <dgm:prSet presAssocID="{59A8A362-BAE7-413F-97BC-75E6D0D489E5}" presName="parTx" presStyleLbl="alignNode1" presStyleIdx="0" presStyleCnt="2" custScaleY="86719" custLinFactNeighborX="-1" custLinFactNeighborY="-65630">
        <dgm:presLayoutVars>
          <dgm:chMax val="0"/>
          <dgm:chPref val="0"/>
          <dgm:bulletEnabled val="1"/>
        </dgm:presLayoutVars>
      </dgm:prSet>
      <dgm:spPr/>
    </dgm:pt>
    <dgm:pt modelId="{855F6275-9653-4E64-953F-F03D94C52F30}" type="pres">
      <dgm:prSet presAssocID="{59A8A362-BAE7-413F-97BC-75E6D0D489E5}" presName="desTx" presStyleLbl="alignAccFollowNode1" presStyleIdx="0" presStyleCnt="2" custScaleY="100337">
        <dgm:presLayoutVars>
          <dgm:bulletEnabled val="1"/>
        </dgm:presLayoutVars>
      </dgm:prSet>
      <dgm:spPr/>
    </dgm:pt>
    <dgm:pt modelId="{670A1B88-5DAA-4199-97A8-973C2AC20B32}" type="pres">
      <dgm:prSet presAssocID="{F8B4CB0F-DF7D-4632-A74C-4711EA0F820F}" presName="space" presStyleCnt="0"/>
      <dgm:spPr/>
    </dgm:pt>
    <dgm:pt modelId="{CBEE5880-42A1-4A2A-B0B8-D94F07CEF0A1}" type="pres">
      <dgm:prSet presAssocID="{D1F5DF30-F845-47F1-99E1-78365E11A946}" presName="composite" presStyleCnt="0"/>
      <dgm:spPr/>
    </dgm:pt>
    <dgm:pt modelId="{9C6EF60A-314F-44F6-ABCA-278996C670F8}" type="pres">
      <dgm:prSet presAssocID="{D1F5DF30-F845-47F1-99E1-78365E11A946}" presName="parTx" presStyleLbl="alignNode1" presStyleIdx="1" presStyleCnt="2" custScaleY="85108" custLinFactNeighborX="1" custLinFactNeighborY="-48934">
        <dgm:presLayoutVars>
          <dgm:chMax val="0"/>
          <dgm:chPref val="0"/>
          <dgm:bulletEnabled val="1"/>
        </dgm:presLayoutVars>
      </dgm:prSet>
      <dgm:spPr/>
    </dgm:pt>
    <dgm:pt modelId="{CB19725E-6D59-4221-9296-0DEC0AD637EB}" type="pres">
      <dgm:prSet presAssocID="{D1F5DF30-F845-47F1-99E1-78365E11A946}" presName="desTx" presStyleLbl="alignAccFollowNode1" presStyleIdx="1" presStyleCnt="2">
        <dgm:presLayoutVars>
          <dgm:bulletEnabled val="1"/>
        </dgm:presLayoutVars>
      </dgm:prSet>
      <dgm:spPr/>
    </dgm:pt>
  </dgm:ptLst>
  <dgm:cxnLst>
    <dgm:cxn modelId="{6F648704-B3CD-495B-9ED9-F3C8DD09D241}" type="presOf" srcId="{E99AEBC6-E858-418F-BF57-448D7DC4C883}" destId="{CB19725E-6D59-4221-9296-0DEC0AD637EB}" srcOrd="0" destOrd="1" presId="urn:microsoft.com/office/officeart/2005/8/layout/hList1"/>
    <dgm:cxn modelId="{5CCAC107-AAA7-4CA4-8044-F5F08CC105E9}" type="presOf" srcId="{59A8A362-BAE7-413F-97BC-75E6D0D489E5}" destId="{59019A88-07A4-43D8-88C4-9BF209DC27E5}" srcOrd="0" destOrd="0" presId="urn:microsoft.com/office/officeart/2005/8/layout/hList1"/>
    <dgm:cxn modelId="{89A3B10D-AC8E-4F49-8E1D-D3051FAB23F3}" srcId="{78313352-7F37-49F1-AF78-C2887D70FAFB}" destId="{59A8A362-BAE7-413F-97BC-75E6D0D489E5}" srcOrd="0" destOrd="0" parTransId="{ECB8672F-B6AD-477F-8D09-7F1685EFD70D}" sibTransId="{F8B4CB0F-DF7D-4632-A74C-4711EA0F820F}"/>
    <dgm:cxn modelId="{06C0F825-E878-433F-AD9A-17CAEEB2B6A6}" srcId="{59A8A362-BAE7-413F-97BC-75E6D0D489E5}" destId="{C330DB69-254C-4A5C-8051-AFC7D1C89849}" srcOrd="1" destOrd="0" parTransId="{41B433FC-4FDA-462F-8A3C-C28B9443D029}" sibTransId="{EDAE5EEF-0DAF-47A1-99ED-68B25B396A10}"/>
    <dgm:cxn modelId="{A987E52B-95B2-4CF5-8D6B-A54D043FAD14}" type="presOf" srcId="{D1F5DF30-F845-47F1-99E1-78365E11A946}" destId="{9C6EF60A-314F-44F6-ABCA-278996C670F8}" srcOrd="0" destOrd="0" presId="urn:microsoft.com/office/officeart/2005/8/layout/hList1"/>
    <dgm:cxn modelId="{22FA364D-0AC0-4722-9AD9-6CE0A450786A}" srcId="{D1F5DF30-F845-47F1-99E1-78365E11A946}" destId="{E99AEBC6-E858-418F-BF57-448D7DC4C883}" srcOrd="1" destOrd="0" parTransId="{FF7F0A51-786E-4BAC-97BD-276DDE789D25}" sibTransId="{DC1C951C-0A98-437E-9BDE-57C9AE4DD86B}"/>
    <dgm:cxn modelId="{B1D7797B-505E-4B35-9EC9-EDB7F4125484}" type="presOf" srcId="{E311A431-133B-4A8E-9283-AF6B0645E2F7}" destId="{855F6275-9653-4E64-953F-F03D94C52F30}" srcOrd="0" destOrd="0" presId="urn:microsoft.com/office/officeart/2005/8/layout/hList1"/>
    <dgm:cxn modelId="{C3198C7D-A6A3-4377-B8EB-7D20F7785D17}" type="presOf" srcId="{C330DB69-254C-4A5C-8051-AFC7D1C89849}" destId="{855F6275-9653-4E64-953F-F03D94C52F30}" srcOrd="0" destOrd="1" presId="urn:microsoft.com/office/officeart/2005/8/layout/hList1"/>
    <dgm:cxn modelId="{E1494C8C-5979-47F8-B15D-DB5438D6C99B}" srcId="{59A8A362-BAE7-413F-97BC-75E6D0D489E5}" destId="{E311A431-133B-4A8E-9283-AF6B0645E2F7}" srcOrd="0" destOrd="0" parTransId="{570954BF-6802-4DE4-9277-F5E1E1411949}" sibTransId="{CC17B243-5FFF-496D-8622-423FF35D4422}"/>
    <dgm:cxn modelId="{7C88E3B2-BF32-4B4C-8227-B147B8E1ED4F}" type="presOf" srcId="{78313352-7F37-49F1-AF78-C2887D70FAFB}" destId="{6597FEAB-27E6-4E14-A3D2-A8255106EC1E}" srcOrd="0" destOrd="0" presId="urn:microsoft.com/office/officeart/2005/8/layout/hList1"/>
    <dgm:cxn modelId="{84E0D2C0-5340-4145-96F3-9ADD97847CED}" srcId="{D1F5DF30-F845-47F1-99E1-78365E11A946}" destId="{0495B63D-BEED-4EFE-973D-50AF0FA353A6}" srcOrd="0" destOrd="0" parTransId="{89430307-D7E7-4878-8123-BD066E89488A}" sibTransId="{896493FF-2B72-4CDB-B0BC-3A8E9E48E0AF}"/>
    <dgm:cxn modelId="{920742D1-7C9F-4509-85EC-E40211DBF338}" type="presOf" srcId="{0495B63D-BEED-4EFE-973D-50AF0FA353A6}" destId="{CB19725E-6D59-4221-9296-0DEC0AD637EB}" srcOrd="0" destOrd="0" presId="urn:microsoft.com/office/officeart/2005/8/layout/hList1"/>
    <dgm:cxn modelId="{332661F6-E72A-47EB-AAC3-624C362DD75F}" srcId="{78313352-7F37-49F1-AF78-C2887D70FAFB}" destId="{D1F5DF30-F845-47F1-99E1-78365E11A946}" srcOrd="1" destOrd="0" parTransId="{AEF4EA5E-CD93-4250-8C83-90F5EB0B4146}" sibTransId="{B0C07B93-5739-4E47-BC39-BFB95F340B4B}"/>
    <dgm:cxn modelId="{DF20A446-CAB6-4579-805E-63F8729B6088}" type="presParOf" srcId="{6597FEAB-27E6-4E14-A3D2-A8255106EC1E}" destId="{6758443D-BE87-438A-86DA-39ED9B42777E}" srcOrd="0" destOrd="0" presId="urn:microsoft.com/office/officeart/2005/8/layout/hList1"/>
    <dgm:cxn modelId="{B744706D-8FAC-4B1E-843E-28F73E3F29A5}" type="presParOf" srcId="{6758443D-BE87-438A-86DA-39ED9B42777E}" destId="{59019A88-07A4-43D8-88C4-9BF209DC27E5}" srcOrd="0" destOrd="0" presId="urn:microsoft.com/office/officeart/2005/8/layout/hList1"/>
    <dgm:cxn modelId="{674CB1BA-47B8-450E-B7CA-F627AFBCD2EB}" type="presParOf" srcId="{6758443D-BE87-438A-86DA-39ED9B42777E}" destId="{855F6275-9653-4E64-953F-F03D94C52F30}" srcOrd="1" destOrd="0" presId="urn:microsoft.com/office/officeart/2005/8/layout/hList1"/>
    <dgm:cxn modelId="{A4CFFE30-6187-47DF-A34C-82BB5F3A3436}" type="presParOf" srcId="{6597FEAB-27E6-4E14-A3D2-A8255106EC1E}" destId="{670A1B88-5DAA-4199-97A8-973C2AC20B32}" srcOrd="1" destOrd="0" presId="urn:microsoft.com/office/officeart/2005/8/layout/hList1"/>
    <dgm:cxn modelId="{AEA12282-10BB-47C7-A054-2AB419DFF41D}" type="presParOf" srcId="{6597FEAB-27E6-4E14-A3D2-A8255106EC1E}" destId="{CBEE5880-42A1-4A2A-B0B8-D94F07CEF0A1}" srcOrd="2" destOrd="0" presId="urn:microsoft.com/office/officeart/2005/8/layout/hList1"/>
    <dgm:cxn modelId="{12802186-D080-40FB-8104-8E86374B59CD}" type="presParOf" srcId="{CBEE5880-42A1-4A2A-B0B8-D94F07CEF0A1}" destId="{9C6EF60A-314F-44F6-ABCA-278996C670F8}" srcOrd="0" destOrd="0" presId="urn:microsoft.com/office/officeart/2005/8/layout/hList1"/>
    <dgm:cxn modelId="{3E6814D1-1007-4DCF-990E-3E57EDA065C4}" type="presParOf" srcId="{CBEE5880-42A1-4A2A-B0B8-D94F07CEF0A1}" destId="{CB19725E-6D59-4221-9296-0DEC0AD637E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F284B03-98D3-49D2-8430-150EC7D4B7F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E397269-52DE-4C6E-891E-91BDE67B8FA5}">
      <dgm:prSet/>
      <dgm:spPr/>
      <dgm:t>
        <a:bodyPr/>
        <a:lstStyle/>
        <a:p>
          <a:r>
            <a:rPr lang="en-US"/>
            <a:t>You may bear witness to a public arrest</a:t>
          </a:r>
        </a:p>
      </dgm:t>
    </dgm:pt>
    <dgm:pt modelId="{F95EA1E3-0863-45ED-ABD5-FDD66CD4D328}" type="parTrans" cxnId="{878C7079-06BD-49DE-8583-0AF58D68EBA2}">
      <dgm:prSet/>
      <dgm:spPr/>
      <dgm:t>
        <a:bodyPr/>
        <a:lstStyle/>
        <a:p>
          <a:endParaRPr lang="en-US"/>
        </a:p>
      </dgm:t>
    </dgm:pt>
    <dgm:pt modelId="{D5B723E9-85A1-4DDB-88A5-B5207577096A}" type="sibTrans" cxnId="{878C7079-06BD-49DE-8583-0AF58D68EBA2}">
      <dgm:prSet/>
      <dgm:spPr/>
      <dgm:t>
        <a:bodyPr/>
        <a:lstStyle/>
        <a:p>
          <a:endParaRPr lang="en-US"/>
        </a:p>
      </dgm:t>
    </dgm:pt>
    <dgm:pt modelId="{0AAB2E25-A0DF-427B-8D53-C6774A3AEF4D}">
      <dgm:prSet/>
      <dgm:spPr/>
      <dgm:t>
        <a:bodyPr/>
        <a:lstStyle/>
        <a:p>
          <a:pPr>
            <a:buNone/>
          </a:pPr>
          <a:r>
            <a:rPr lang="en-US"/>
            <a:t>Physically interfering or verbally berating ICE could have adverse consequences for both you and the immigrant</a:t>
          </a:r>
        </a:p>
      </dgm:t>
    </dgm:pt>
    <dgm:pt modelId="{A8BDFE94-E2F6-4BF4-B093-89F9295C1E73}" type="parTrans" cxnId="{A1DDAE74-0819-46AE-AB85-79E8DF2B5C35}">
      <dgm:prSet/>
      <dgm:spPr/>
      <dgm:t>
        <a:bodyPr/>
        <a:lstStyle/>
        <a:p>
          <a:endParaRPr lang="en-US"/>
        </a:p>
      </dgm:t>
    </dgm:pt>
    <dgm:pt modelId="{32A65806-7B26-442D-878C-5471407E9BC8}" type="sibTrans" cxnId="{A1DDAE74-0819-46AE-AB85-79E8DF2B5C35}">
      <dgm:prSet/>
      <dgm:spPr/>
      <dgm:t>
        <a:bodyPr/>
        <a:lstStyle/>
        <a:p>
          <a:endParaRPr lang="en-US"/>
        </a:p>
      </dgm:t>
    </dgm:pt>
    <dgm:pt modelId="{B4E409F3-0849-421B-B2AD-93FBB3BD6614}">
      <dgm:prSet/>
      <dgm:spPr/>
      <dgm:t>
        <a:bodyPr/>
        <a:lstStyle/>
        <a:p>
          <a:r>
            <a:rPr lang="en-US"/>
            <a:t>Rights</a:t>
          </a:r>
          <a:r>
            <a:rPr lang="en-US" baseline="0"/>
            <a:t> of Bystanders</a:t>
          </a:r>
          <a:endParaRPr lang="en-US"/>
        </a:p>
      </dgm:t>
    </dgm:pt>
    <dgm:pt modelId="{AAD423DC-8B9D-4528-9C18-F158809A7024}" type="parTrans" cxnId="{9FAFA4DF-FC8C-4C1D-B4BC-9263073C7A4C}">
      <dgm:prSet/>
      <dgm:spPr/>
      <dgm:t>
        <a:bodyPr/>
        <a:lstStyle/>
        <a:p>
          <a:endParaRPr lang="en-US"/>
        </a:p>
      </dgm:t>
    </dgm:pt>
    <dgm:pt modelId="{17840DFE-61BB-430E-9C61-DE943B119D7F}" type="sibTrans" cxnId="{9FAFA4DF-FC8C-4C1D-B4BC-9263073C7A4C}">
      <dgm:prSet/>
      <dgm:spPr/>
      <dgm:t>
        <a:bodyPr/>
        <a:lstStyle/>
        <a:p>
          <a:endParaRPr lang="en-US"/>
        </a:p>
      </dgm:t>
    </dgm:pt>
    <dgm:pt modelId="{0EBD2BFA-D509-4CD3-A17D-038DE3B5FE14}">
      <dgm:prSet/>
      <dgm:spPr/>
      <dgm:t>
        <a:bodyPr/>
        <a:lstStyle/>
        <a:p>
          <a:r>
            <a:rPr lang="en-US"/>
            <a:t>You have the right to witness and document</a:t>
          </a:r>
        </a:p>
      </dgm:t>
    </dgm:pt>
    <dgm:pt modelId="{4F5DD586-19F5-4D1C-952D-BE25290DA318}" type="parTrans" cxnId="{77D8C73D-EA84-446E-AB67-52C469EE58D6}">
      <dgm:prSet/>
      <dgm:spPr/>
      <dgm:t>
        <a:bodyPr/>
        <a:lstStyle/>
        <a:p>
          <a:endParaRPr lang="en-US"/>
        </a:p>
      </dgm:t>
    </dgm:pt>
    <dgm:pt modelId="{D6B6D6F7-8585-4B0B-86BE-D95D511DAC63}" type="sibTrans" cxnId="{77D8C73D-EA84-446E-AB67-52C469EE58D6}">
      <dgm:prSet/>
      <dgm:spPr/>
      <dgm:t>
        <a:bodyPr/>
        <a:lstStyle/>
        <a:p>
          <a:endParaRPr lang="en-US"/>
        </a:p>
      </dgm:t>
    </dgm:pt>
    <dgm:pt modelId="{D89EA965-8F83-4815-8877-68E7F5930043}">
      <dgm:prSet/>
      <dgm:spPr/>
      <dgm:t>
        <a:bodyPr/>
        <a:lstStyle/>
        <a:p>
          <a:pPr>
            <a:buFont typeface="Wingdings" panose="05000000000000000000" pitchFamily="2" charset="2"/>
            <a:buChar char="Ø"/>
          </a:pPr>
          <a:r>
            <a:rPr lang="en-US"/>
            <a:t>	Massachusetts law allows for videotaping, disclose if using sound</a:t>
          </a:r>
        </a:p>
      </dgm:t>
    </dgm:pt>
    <dgm:pt modelId="{B2374FB2-9EE7-4660-A6D3-4F76F86DDF67}" type="parTrans" cxnId="{35F96928-5A4A-4634-9575-7BD6DFE1C8AC}">
      <dgm:prSet/>
      <dgm:spPr/>
      <dgm:t>
        <a:bodyPr/>
        <a:lstStyle/>
        <a:p>
          <a:endParaRPr lang="en-US"/>
        </a:p>
      </dgm:t>
    </dgm:pt>
    <dgm:pt modelId="{D9A65116-DE40-40EF-BD4C-E2677974DF17}" type="sibTrans" cxnId="{35F96928-5A4A-4634-9575-7BD6DFE1C8AC}">
      <dgm:prSet/>
      <dgm:spPr/>
      <dgm:t>
        <a:bodyPr/>
        <a:lstStyle/>
        <a:p>
          <a:endParaRPr lang="en-US"/>
        </a:p>
      </dgm:t>
    </dgm:pt>
    <dgm:pt modelId="{5DFF3C9C-1CA7-4124-B7E3-8727A5B06CA8}">
      <dgm:prSet/>
      <dgm:spPr/>
      <dgm:t>
        <a:bodyPr/>
        <a:lstStyle/>
        <a:p>
          <a:r>
            <a:rPr lang="en-US"/>
            <a:t>You can ask the immigrant if they want you to call someone</a:t>
          </a:r>
        </a:p>
      </dgm:t>
    </dgm:pt>
    <dgm:pt modelId="{BF696948-A681-4FFD-9C72-403D6EC6AE86}" type="parTrans" cxnId="{8F48683A-392A-4AB5-8454-0C3A9C4E66F5}">
      <dgm:prSet/>
      <dgm:spPr/>
      <dgm:t>
        <a:bodyPr/>
        <a:lstStyle/>
        <a:p>
          <a:endParaRPr lang="en-US"/>
        </a:p>
      </dgm:t>
    </dgm:pt>
    <dgm:pt modelId="{0459974C-8241-4119-B149-5FF649F94C7A}" type="sibTrans" cxnId="{8F48683A-392A-4AB5-8454-0C3A9C4E66F5}">
      <dgm:prSet/>
      <dgm:spPr/>
      <dgm:t>
        <a:bodyPr/>
        <a:lstStyle/>
        <a:p>
          <a:endParaRPr lang="en-US"/>
        </a:p>
      </dgm:t>
    </dgm:pt>
    <dgm:pt modelId="{A050127D-D18C-4FED-AC92-0EDFF586BCC3}">
      <dgm:prSet/>
      <dgm:spPr/>
      <dgm:t>
        <a:bodyPr/>
        <a:lstStyle/>
        <a:p>
          <a:r>
            <a:rPr lang="en-US"/>
            <a:t>You can remain silent if asked any questions by ICE</a:t>
          </a:r>
        </a:p>
      </dgm:t>
    </dgm:pt>
    <dgm:pt modelId="{175EB8FB-A556-4DCB-B63F-8A982843A3E0}" type="parTrans" cxnId="{2BED2B4C-FA33-4969-8E2B-60F213392E92}">
      <dgm:prSet/>
      <dgm:spPr/>
      <dgm:t>
        <a:bodyPr/>
        <a:lstStyle/>
        <a:p>
          <a:endParaRPr lang="en-US"/>
        </a:p>
      </dgm:t>
    </dgm:pt>
    <dgm:pt modelId="{8FBA3C6D-8833-406E-8926-24CA599F1AFC}" type="sibTrans" cxnId="{2BED2B4C-FA33-4969-8E2B-60F213392E92}">
      <dgm:prSet/>
      <dgm:spPr/>
      <dgm:t>
        <a:bodyPr/>
        <a:lstStyle/>
        <a:p>
          <a:endParaRPr lang="en-US"/>
        </a:p>
      </dgm:t>
    </dgm:pt>
    <dgm:pt modelId="{167B027D-F602-4B75-A194-4DF3C750A3BE}">
      <dgm:prSet/>
      <dgm:spPr/>
      <dgm:t>
        <a:bodyPr/>
        <a:lstStyle/>
        <a:p>
          <a:r>
            <a:rPr lang="en-US"/>
            <a:t>You can help by keeping calm and promoting calm</a:t>
          </a:r>
        </a:p>
      </dgm:t>
    </dgm:pt>
    <dgm:pt modelId="{57509799-70D5-457F-9849-2C611CFCBBBA}" type="parTrans" cxnId="{0F0685D5-7BDF-421A-BFAC-AF59BEAB2DF3}">
      <dgm:prSet/>
      <dgm:spPr/>
      <dgm:t>
        <a:bodyPr/>
        <a:lstStyle/>
        <a:p>
          <a:endParaRPr lang="en-US"/>
        </a:p>
      </dgm:t>
    </dgm:pt>
    <dgm:pt modelId="{99C7312D-3C0D-4C35-AD6D-419C2B7DC072}" type="sibTrans" cxnId="{0F0685D5-7BDF-421A-BFAC-AF59BEAB2DF3}">
      <dgm:prSet/>
      <dgm:spPr/>
      <dgm:t>
        <a:bodyPr/>
        <a:lstStyle/>
        <a:p>
          <a:endParaRPr lang="en-US"/>
        </a:p>
      </dgm:t>
    </dgm:pt>
    <dgm:pt modelId="{B2DFE14A-A814-4052-A6FE-3519842A77D6}">
      <dgm:prSet/>
      <dgm:spPr/>
      <dgm:t>
        <a:bodyPr/>
        <a:lstStyle/>
        <a:p>
          <a:pPr>
            <a:buFont typeface="Wingdings" panose="05000000000000000000" pitchFamily="2" charset="2"/>
            <a:buChar char="Ø"/>
          </a:pPr>
          <a:r>
            <a:rPr lang="en-US"/>
            <a:t>	You can observe ICE officers from a safe distance</a:t>
          </a:r>
        </a:p>
      </dgm:t>
    </dgm:pt>
    <dgm:pt modelId="{659B4C79-002A-4720-9008-C0942202098E}" type="parTrans" cxnId="{35882A80-E826-4765-89B7-15297F89C38A}">
      <dgm:prSet/>
      <dgm:spPr/>
      <dgm:t>
        <a:bodyPr/>
        <a:lstStyle/>
        <a:p>
          <a:endParaRPr lang="en-US"/>
        </a:p>
      </dgm:t>
    </dgm:pt>
    <dgm:pt modelId="{C9C350C0-8C2B-4C5F-B9D7-B226F05EE087}" type="sibTrans" cxnId="{35882A80-E826-4765-89B7-15297F89C38A}">
      <dgm:prSet/>
      <dgm:spPr/>
      <dgm:t>
        <a:bodyPr/>
        <a:lstStyle/>
        <a:p>
          <a:endParaRPr lang="en-US"/>
        </a:p>
      </dgm:t>
    </dgm:pt>
    <dgm:pt modelId="{D448B8B2-FA9F-4C78-A9C1-DC798391EB57}" type="pres">
      <dgm:prSet presAssocID="{9F284B03-98D3-49D2-8430-150EC7D4B7F8}" presName="linear" presStyleCnt="0">
        <dgm:presLayoutVars>
          <dgm:animLvl val="lvl"/>
          <dgm:resizeHandles val="exact"/>
        </dgm:presLayoutVars>
      </dgm:prSet>
      <dgm:spPr/>
    </dgm:pt>
    <dgm:pt modelId="{87F33C1B-DEB2-42E2-8C1D-C736FA93DD33}" type="pres">
      <dgm:prSet presAssocID="{BE397269-52DE-4C6E-891E-91BDE67B8FA5}" presName="parentText" presStyleLbl="node1" presStyleIdx="0" presStyleCnt="3">
        <dgm:presLayoutVars>
          <dgm:chMax val="0"/>
          <dgm:bulletEnabled val="1"/>
        </dgm:presLayoutVars>
      </dgm:prSet>
      <dgm:spPr/>
    </dgm:pt>
    <dgm:pt modelId="{EB0B0A85-9744-4A72-A11C-ABA9A94BAA84}" type="pres">
      <dgm:prSet presAssocID="{D5B723E9-85A1-4DDB-88A5-B5207577096A}" presName="spacer" presStyleCnt="0"/>
      <dgm:spPr/>
    </dgm:pt>
    <dgm:pt modelId="{2224EC29-C838-4426-8D36-34418CDD4534}" type="pres">
      <dgm:prSet presAssocID="{0AAB2E25-A0DF-427B-8D53-C6774A3AEF4D}" presName="parentText" presStyleLbl="node1" presStyleIdx="1" presStyleCnt="3">
        <dgm:presLayoutVars>
          <dgm:chMax val="0"/>
          <dgm:bulletEnabled val="1"/>
        </dgm:presLayoutVars>
      </dgm:prSet>
      <dgm:spPr/>
    </dgm:pt>
    <dgm:pt modelId="{138B765D-949F-4DDC-BC0A-493C64EC89A1}" type="pres">
      <dgm:prSet presAssocID="{32A65806-7B26-442D-878C-5471407E9BC8}" presName="spacer" presStyleCnt="0"/>
      <dgm:spPr/>
    </dgm:pt>
    <dgm:pt modelId="{C4854E21-9E7A-4513-A7BE-5C6E0FDCF09F}" type="pres">
      <dgm:prSet presAssocID="{B4E409F3-0849-421B-B2AD-93FBB3BD6614}" presName="parentText" presStyleLbl="node1" presStyleIdx="2" presStyleCnt="3">
        <dgm:presLayoutVars>
          <dgm:chMax val="0"/>
          <dgm:bulletEnabled val="1"/>
        </dgm:presLayoutVars>
      </dgm:prSet>
      <dgm:spPr/>
    </dgm:pt>
    <dgm:pt modelId="{A625D74D-5369-4E8B-A616-50DBC9CB9E7C}" type="pres">
      <dgm:prSet presAssocID="{B4E409F3-0849-421B-B2AD-93FBB3BD6614}" presName="childText" presStyleLbl="revTx" presStyleIdx="0" presStyleCnt="1">
        <dgm:presLayoutVars>
          <dgm:bulletEnabled val="1"/>
        </dgm:presLayoutVars>
      </dgm:prSet>
      <dgm:spPr/>
    </dgm:pt>
  </dgm:ptLst>
  <dgm:cxnLst>
    <dgm:cxn modelId="{BEFC4F17-2892-4800-9E60-2031B7E9F89E}" type="presOf" srcId="{0EBD2BFA-D509-4CD3-A17D-038DE3B5FE14}" destId="{A625D74D-5369-4E8B-A616-50DBC9CB9E7C}" srcOrd="0" destOrd="0" presId="urn:microsoft.com/office/officeart/2005/8/layout/vList2"/>
    <dgm:cxn modelId="{784E301F-3745-4BC6-A581-7FEA284DAA27}" type="presOf" srcId="{5DFF3C9C-1CA7-4124-B7E3-8727A5B06CA8}" destId="{A625D74D-5369-4E8B-A616-50DBC9CB9E7C}" srcOrd="0" destOrd="5" presId="urn:microsoft.com/office/officeart/2005/8/layout/vList2"/>
    <dgm:cxn modelId="{35F96928-5A4A-4634-9575-7BD6DFE1C8AC}" srcId="{0EBD2BFA-D509-4CD3-A17D-038DE3B5FE14}" destId="{D89EA965-8F83-4815-8877-68E7F5930043}" srcOrd="1" destOrd="0" parTransId="{B2374FB2-9EE7-4660-A6D3-4F76F86DDF67}" sibTransId="{D9A65116-DE40-40EF-BD4C-E2677974DF17}"/>
    <dgm:cxn modelId="{8F48683A-392A-4AB5-8454-0C3A9C4E66F5}" srcId="{B4E409F3-0849-421B-B2AD-93FBB3BD6614}" destId="{5DFF3C9C-1CA7-4124-B7E3-8727A5B06CA8}" srcOrd="3" destOrd="0" parTransId="{BF696948-A681-4FFD-9C72-403D6EC6AE86}" sibTransId="{0459974C-8241-4119-B149-5FF649F94C7A}"/>
    <dgm:cxn modelId="{34BF643B-D05F-43ED-B070-EEBA2238CC8B}" type="presOf" srcId="{167B027D-F602-4B75-A194-4DF3C750A3BE}" destId="{A625D74D-5369-4E8B-A616-50DBC9CB9E7C}" srcOrd="0" destOrd="3" presId="urn:microsoft.com/office/officeart/2005/8/layout/vList2"/>
    <dgm:cxn modelId="{77D8C73D-EA84-446E-AB67-52C469EE58D6}" srcId="{B4E409F3-0849-421B-B2AD-93FBB3BD6614}" destId="{0EBD2BFA-D509-4CD3-A17D-038DE3B5FE14}" srcOrd="0" destOrd="0" parTransId="{4F5DD586-19F5-4D1C-952D-BE25290DA318}" sibTransId="{D6B6D6F7-8585-4B0B-86BE-D95D511DAC63}"/>
    <dgm:cxn modelId="{96388144-2D92-481F-94A9-FDD7514BF66C}" type="presOf" srcId="{B4E409F3-0849-421B-B2AD-93FBB3BD6614}" destId="{C4854E21-9E7A-4513-A7BE-5C6E0FDCF09F}" srcOrd="0" destOrd="0" presId="urn:microsoft.com/office/officeart/2005/8/layout/vList2"/>
    <dgm:cxn modelId="{2BED2B4C-FA33-4969-8E2B-60F213392E92}" srcId="{B4E409F3-0849-421B-B2AD-93FBB3BD6614}" destId="{A050127D-D18C-4FED-AC92-0EDFF586BCC3}" srcOrd="2" destOrd="0" parTransId="{175EB8FB-A556-4DCB-B63F-8A982843A3E0}" sibTransId="{8FBA3C6D-8833-406E-8926-24CA599F1AFC}"/>
    <dgm:cxn modelId="{A1DDAE74-0819-46AE-AB85-79E8DF2B5C35}" srcId="{9F284B03-98D3-49D2-8430-150EC7D4B7F8}" destId="{0AAB2E25-A0DF-427B-8D53-C6774A3AEF4D}" srcOrd="1" destOrd="0" parTransId="{A8BDFE94-E2F6-4BF4-B093-89F9295C1E73}" sibTransId="{32A65806-7B26-442D-878C-5471407E9BC8}"/>
    <dgm:cxn modelId="{892C0D77-6B0E-4092-9571-E7E33FAE3F98}" type="presOf" srcId="{B2DFE14A-A814-4052-A6FE-3519842A77D6}" destId="{A625D74D-5369-4E8B-A616-50DBC9CB9E7C}" srcOrd="0" destOrd="1" presId="urn:microsoft.com/office/officeart/2005/8/layout/vList2"/>
    <dgm:cxn modelId="{878C7079-06BD-49DE-8583-0AF58D68EBA2}" srcId="{9F284B03-98D3-49D2-8430-150EC7D4B7F8}" destId="{BE397269-52DE-4C6E-891E-91BDE67B8FA5}" srcOrd="0" destOrd="0" parTransId="{F95EA1E3-0863-45ED-ABD5-FDD66CD4D328}" sibTransId="{D5B723E9-85A1-4DDB-88A5-B5207577096A}"/>
    <dgm:cxn modelId="{35882A80-E826-4765-89B7-15297F89C38A}" srcId="{0EBD2BFA-D509-4CD3-A17D-038DE3B5FE14}" destId="{B2DFE14A-A814-4052-A6FE-3519842A77D6}" srcOrd="0" destOrd="0" parTransId="{659B4C79-002A-4720-9008-C0942202098E}" sibTransId="{C9C350C0-8C2B-4C5F-B9D7-B226F05EE087}"/>
    <dgm:cxn modelId="{F8008A8D-42AC-4970-991E-E3E49C2E365D}" type="presOf" srcId="{BE397269-52DE-4C6E-891E-91BDE67B8FA5}" destId="{87F33C1B-DEB2-42E2-8C1D-C736FA93DD33}" srcOrd="0" destOrd="0" presId="urn:microsoft.com/office/officeart/2005/8/layout/vList2"/>
    <dgm:cxn modelId="{8A76039C-6451-4656-9677-9874E5069263}" type="presOf" srcId="{D89EA965-8F83-4815-8877-68E7F5930043}" destId="{A625D74D-5369-4E8B-A616-50DBC9CB9E7C}" srcOrd="0" destOrd="2" presId="urn:microsoft.com/office/officeart/2005/8/layout/vList2"/>
    <dgm:cxn modelId="{7FD5A7A1-A183-4F7A-9281-5DA2BF9CD302}" type="presOf" srcId="{0AAB2E25-A0DF-427B-8D53-C6774A3AEF4D}" destId="{2224EC29-C838-4426-8D36-34418CDD4534}" srcOrd="0" destOrd="0" presId="urn:microsoft.com/office/officeart/2005/8/layout/vList2"/>
    <dgm:cxn modelId="{D7E19AB3-6489-423B-AF61-73D7C3FC324F}" type="presOf" srcId="{A050127D-D18C-4FED-AC92-0EDFF586BCC3}" destId="{A625D74D-5369-4E8B-A616-50DBC9CB9E7C}" srcOrd="0" destOrd="4" presId="urn:microsoft.com/office/officeart/2005/8/layout/vList2"/>
    <dgm:cxn modelId="{0F0685D5-7BDF-421A-BFAC-AF59BEAB2DF3}" srcId="{B4E409F3-0849-421B-B2AD-93FBB3BD6614}" destId="{167B027D-F602-4B75-A194-4DF3C750A3BE}" srcOrd="1" destOrd="0" parTransId="{57509799-70D5-457F-9849-2C611CFCBBBA}" sibTransId="{99C7312D-3C0D-4C35-AD6D-419C2B7DC072}"/>
    <dgm:cxn modelId="{9FAFA4DF-FC8C-4C1D-B4BC-9263073C7A4C}" srcId="{9F284B03-98D3-49D2-8430-150EC7D4B7F8}" destId="{B4E409F3-0849-421B-B2AD-93FBB3BD6614}" srcOrd="2" destOrd="0" parTransId="{AAD423DC-8B9D-4528-9C18-F158809A7024}" sibTransId="{17840DFE-61BB-430E-9C61-DE943B119D7F}"/>
    <dgm:cxn modelId="{9ACF3AF8-C29A-4AC6-8BF7-6830E70CCFF8}" type="presOf" srcId="{9F284B03-98D3-49D2-8430-150EC7D4B7F8}" destId="{D448B8B2-FA9F-4C78-A9C1-DC798391EB57}" srcOrd="0" destOrd="0" presId="urn:microsoft.com/office/officeart/2005/8/layout/vList2"/>
    <dgm:cxn modelId="{6580695E-2753-4D13-BEAD-4488410A3E23}" type="presParOf" srcId="{D448B8B2-FA9F-4C78-A9C1-DC798391EB57}" destId="{87F33C1B-DEB2-42E2-8C1D-C736FA93DD33}" srcOrd="0" destOrd="0" presId="urn:microsoft.com/office/officeart/2005/8/layout/vList2"/>
    <dgm:cxn modelId="{5F8F0FB9-FE07-455E-A685-13862B85FEE1}" type="presParOf" srcId="{D448B8B2-FA9F-4C78-A9C1-DC798391EB57}" destId="{EB0B0A85-9744-4A72-A11C-ABA9A94BAA84}" srcOrd="1" destOrd="0" presId="urn:microsoft.com/office/officeart/2005/8/layout/vList2"/>
    <dgm:cxn modelId="{40CAB419-8A75-45B5-A556-1A81FDAE814E}" type="presParOf" srcId="{D448B8B2-FA9F-4C78-A9C1-DC798391EB57}" destId="{2224EC29-C838-4426-8D36-34418CDD4534}" srcOrd="2" destOrd="0" presId="urn:microsoft.com/office/officeart/2005/8/layout/vList2"/>
    <dgm:cxn modelId="{2D39A50B-1507-41B0-A6CF-0C87F38DEF5B}" type="presParOf" srcId="{D448B8B2-FA9F-4C78-A9C1-DC798391EB57}" destId="{138B765D-949F-4DDC-BC0A-493C64EC89A1}" srcOrd="3" destOrd="0" presId="urn:microsoft.com/office/officeart/2005/8/layout/vList2"/>
    <dgm:cxn modelId="{CB969583-72BA-4526-BD00-099C44EF1072}" type="presParOf" srcId="{D448B8B2-FA9F-4C78-A9C1-DC798391EB57}" destId="{C4854E21-9E7A-4513-A7BE-5C6E0FDCF09F}" srcOrd="4" destOrd="0" presId="urn:microsoft.com/office/officeart/2005/8/layout/vList2"/>
    <dgm:cxn modelId="{DE93BEAD-E286-4A28-AB3F-A464B03CC823}" type="presParOf" srcId="{D448B8B2-FA9F-4C78-A9C1-DC798391EB57}" destId="{A625D74D-5369-4E8B-A616-50DBC9CB9E7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8313352-7F37-49F1-AF78-C2887D70FA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9A8A362-BAE7-413F-97BC-75E6D0D489E5}">
      <dgm:prSet custT="1"/>
      <dgm:spPr/>
      <dgm:t>
        <a:bodyPr/>
        <a:lstStyle/>
        <a:p>
          <a:r>
            <a:rPr lang="en-US" sz="2800" b="1" i="1">
              <a:solidFill>
                <a:schemeClr val="bg1"/>
              </a:solidFill>
              <a:latin typeface="Calibri"/>
              <a:ea typeface="Calibri"/>
              <a:cs typeface="Calibri"/>
            </a:rPr>
            <a:t>Supporting Impacted Student</a:t>
          </a:r>
          <a:endParaRPr lang="en-US" sz="3200" b="1" i="1">
            <a:solidFill>
              <a:schemeClr val="bg1"/>
            </a:solidFill>
          </a:endParaRPr>
        </a:p>
      </dgm:t>
    </dgm:pt>
    <dgm:pt modelId="{ECB8672F-B6AD-477F-8D09-7F1685EFD70D}" type="parTrans" cxnId="{89A3B10D-AC8E-4F49-8E1D-D3051FAB23F3}">
      <dgm:prSet/>
      <dgm:spPr/>
      <dgm:t>
        <a:bodyPr/>
        <a:lstStyle/>
        <a:p>
          <a:endParaRPr lang="en-US"/>
        </a:p>
      </dgm:t>
    </dgm:pt>
    <dgm:pt modelId="{F8B4CB0F-DF7D-4632-A74C-4711EA0F820F}" type="sibTrans" cxnId="{89A3B10D-AC8E-4F49-8E1D-D3051FAB23F3}">
      <dgm:prSet/>
      <dgm:spPr/>
      <dgm:t>
        <a:bodyPr/>
        <a:lstStyle/>
        <a:p>
          <a:endParaRPr lang="en-US"/>
        </a:p>
      </dgm:t>
    </dgm:pt>
    <dgm:pt modelId="{0495B63D-BEED-4EFE-973D-50AF0FA353A6}">
      <dgm:prSet custT="1"/>
      <dgm:spPr/>
      <dgm:t>
        <a:bodyPr/>
        <a:lstStyle/>
        <a:p>
          <a:r>
            <a:rPr lang="en-US" sz="1800" b="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 directly and indirectly impacted</a:t>
          </a:r>
        </a:p>
      </dgm:t>
    </dgm:pt>
    <dgm:pt modelId="{89430307-D7E7-4878-8123-BD066E89488A}" type="parTrans" cxnId="{84E0D2C0-5340-4145-96F3-9ADD97847CED}">
      <dgm:prSet/>
      <dgm:spPr/>
      <dgm:t>
        <a:bodyPr/>
        <a:lstStyle/>
        <a:p>
          <a:endParaRPr lang="en-US"/>
        </a:p>
      </dgm:t>
    </dgm:pt>
    <dgm:pt modelId="{896493FF-2B72-4CDB-B0BC-3A8E9E48E0AF}" type="sibTrans" cxnId="{84E0D2C0-5340-4145-96F3-9ADD97847CED}">
      <dgm:prSet/>
      <dgm:spPr/>
      <dgm:t>
        <a:bodyPr/>
        <a:lstStyle/>
        <a:p>
          <a:endParaRPr lang="en-US"/>
        </a:p>
      </dgm:t>
    </dgm:pt>
    <dgm:pt modelId="{D1F5DF30-F845-47F1-99E1-78365E11A946}">
      <dgm:prSet custT="1"/>
      <dgm:spPr/>
      <dgm:t>
        <a:bodyPr/>
        <a:lstStyle/>
        <a:p>
          <a:r>
            <a:rPr lang="en-US" sz="2800" b="1" i="1">
              <a:solidFill>
                <a:schemeClr val="bg1"/>
              </a:solidFill>
              <a:latin typeface="Calibri" panose="020F0502020204030204" pitchFamily="34" charset="0"/>
              <a:ea typeface="Calibri" panose="020F0502020204030204" pitchFamily="34" charset="0"/>
              <a:cs typeface="Calibri" panose="020F0502020204030204" pitchFamily="34" charset="0"/>
            </a:rPr>
            <a:t>Community-wide Considerations</a:t>
          </a:r>
          <a:endParaRPr lang="en-US" sz="2800" b="0" i="1">
            <a:solidFill>
              <a:schemeClr val="bg1"/>
            </a:solidFill>
            <a:latin typeface="Calibri" panose="020F0502020204030204" pitchFamily="34" charset="0"/>
            <a:ea typeface="Calibri" panose="020F0502020204030204" pitchFamily="34" charset="0"/>
            <a:cs typeface="Calibri" panose="020F0502020204030204" pitchFamily="34" charset="0"/>
          </a:endParaRPr>
        </a:p>
      </dgm:t>
    </dgm:pt>
    <dgm:pt modelId="{B0C07B93-5739-4E47-BC39-BFB95F340B4B}" type="sibTrans" cxnId="{332661F6-E72A-47EB-AAC3-624C362DD75F}">
      <dgm:prSet/>
      <dgm:spPr/>
      <dgm:t>
        <a:bodyPr/>
        <a:lstStyle/>
        <a:p>
          <a:endParaRPr lang="en-US"/>
        </a:p>
      </dgm:t>
    </dgm:pt>
    <dgm:pt modelId="{AEF4EA5E-CD93-4250-8C83-90F5EB0B4146}" type="parTrans" cxnId="{332661F6-E72A-47EB-AAC3-624C362DD75F}">
      <dgm:prSet/>
      <dgm:spPr/>
      <dgm:t>
        <a:bodyPr/>
        <a:lstStyle/>
        <a:p>
          <a:endParaRPr lang="en-US"/>
        </a:p>
      </dgm:t>
    </dgm:pt>
    <dgm:pt modelId="{EEA44D19-0814-4ECC-9A99-787ED9800FB4}">
      <dgm:prSet custT="1"/>
      <dgm:spPr/>
      <dgm:t>
        <a:bodyPr/>
        <a:lstStyle/>
        <a:p>
          <a:r>
            <a:rPr lang="en-US" sz="2000" b="1">
              <a:solidFill>
                <a:srgbClr val="FF0000"/>
              </a:solidFill>
              <a:latin typeface="Calibri"/>
              <a:ea typeface="Calibri"/>
              <a:cs typeface="Calibri"/>
            </a:rPr>
            <a:t>Determine alternative caregiver:</a:t>
          </a:r>
          <a:r>
            <a:rPr lang="en-US" sz="2000" b="0">
              <a:solidFill>
                <a:schemeClr val="tx1"/>
              </a:solidFill>
              <a:latin typeface="Calibri"/>
              <a:ea typeface="Calibri"/>
              <a:cs typeface="Calibri"/>
            </a:rPr>
            <a:t> </a:t>
          </a:r>
        </a:p>
      </dgm:t>
    </dgm:pt>
    <dgm:pt modelId="{0A29E14D-2BFC-4E4B-BA28-E1E043286C79}" type="parTrans" cxnId="{2DA0E570-927D-4D2C-B1AA-9AFCF247E485}">
      <dgm:prSet/>
      <dgm:spPr/>
      <dgm:t>
        <a:bodyPr/>
        <a:lstStyle/>
        <a:p>
          <a:endParaRPr lang="en-US"/>
        </a:p>
      </dgm:t>
    </dgm:pt>
    <dgm:pt modelId="{9B13C696-BA62-49B9-80C2-F6260626F4C4}" type="sibTrans" cxnId="{2DA0E570-927D-4D2C-B1AA-9AFCF247E485}">
      <dgm:prSet/>
      <dgm:spPr/>
      <dgm:t>
        <a:bodyPr/>
        <a:lstStyle/>
        <a:p>
          <a:endParaRPr lang="en-US"/>
        </a:p>
      </dgm:t>
    </dgm:pt>
    <dgm:pt modelId="{623A0BF3-7621-4013-9D30-3CF7A90F9D4C}">
      <dgm:prSet custT="1"/>
      <dgm:spPr/>
      <dgm:t>
        <a:bodyPr/>
        <a:lstStyle/>
        <a:p>
          <a:r>
            <a:rPr lang="en-US" sz="2000" b="0">
              <a:solidFill>
                <a:schemeClr val="tx1"/>
              </a:solidFill>
              <a:latin typeface="Calibri"/>
              <a:ea typeface="Calibri"/>
              <a:cs typeface="Calibri"/>
            </a:rPr>
            <a:t>Check student’s emergency contact information + authorized pick-up contacts</a:t>
          </a:r>
        </a:p>
      </dgm:t>
    </dgm:pt>
    <dgm:pt modelId="{B1C5C23E-A5C0-4252-9130-AAC38989E99E}" type="parTrans" cxnId="{0E61C557-6B4E-48D7-8932-0361C5C298C6}">
      <dgm:prSet/>
      <dgm:spPr/>
      <dgm:t>
        <a:bodyPr/>
        <a:lstStyle/>
        <a:p>
          <a:endParaRPr lang="en-US"/>
        </a:p>
      </dgm:t>
    </dgm:pt>
    <dgm:pt modelId="{676FB66C-E24F-42DE-8C61-DE0B2F9A20FF}" type="sibTrans" cxnId="{0E61C557-6B4E-48D7-8932-0361C5C298C6}">
      <dgm:prSet/>
      <dgm:spPr/>
      <dgm:t>
        <a:bodyPr/>
        <a:lstStyle/>
        <a:p>
          <a:endParaRPr lang="en-US"/>
        </a:p>
      </dgm:t>
    </dgm:pt>
    <dgm:pt modelId="{5447606D-C62D-4689-B36E-7395075DE279}">
      <dgm:prSet custT="1"/>
      <dgm:spPr/>
      <dgm:t>
        <a:bodyPr/>
        <a:lstStyle/>
        <a:p>
          <a:r>
            <a:rPr lang="en-US" sz="2000" b="0">
              <a:solidFill>
                <a:schemeClr val="tx1"/>
              </a:solidFill>
              <a:latin typeface="Calibri"/>
              <a:ea typeface="Calibri"/>
              <a:cs typeface="Calibri"/>
            </a:rPr>
            <a:t>Is there a custodial chain on file? Check for alternative caregiver documents (e.g., caregiver authorization affidavit, temporary agent, guardian) </a:t>
          </a:r>
          <a:r>
            <a:rPr lang="en-US" sz="2000" b="0">
              <a:solidFill>
                <a:schemeClr val="tx1"/>
              </a:solidFill>
              <a:latin typeface="Calibri"/>
              <a:ea typeface="Calibri"/>
              <a:cs typeface="Calibri"/>
              <a:sym typeface="Wingdings" panose="05000000000000000000" pitchFamily="2" charset="2"/>
            </a:rPr>
            <a:t> </a:t>
          </a:r>
          <a:r>
            <a:rPr lang="en-US" sz="2000" b="0">
              <a:solidFill>
                <a:schemeClr val="tx1"/>
              </a:solidFill>
              <a:latin typeface="Calibri"/>
              <a:ea typeface="Calibri"/>
              <a:cs typeface="Calibri"/>
            </a:rPr>
            <a:t>If no alternative caregiver plan in place: DCF</a:t>
          </a:r>
        </a:p>
      </dgm:t>
    </dgm:pt>
    <dgm:pt modelId="{EE6EA8EB-AA1B-46FF-B182-22DDE1C1E148}" type="parTrans" cxnId="{D69D2D51-E782-418B-9B67-10E846F1BBFC}">
      <dgm:prSet/>
      <dgm:spPr/>
      <dgm:t>
        <a:bodyPr/>
        <a:lstStyle/>
        <a:p>
          <a:endParaRPr lang="en-US"/>
        </a:p>
      </dgm:t>
    </dgm:pt>
    <dgm:pt modelId="{936BE3CE-8C8A-4509-A36B-83086650EABC}" type="sibTrans" cxnId="{D69D2D51-E782-418B-9B67-10E846F1BBFC}">
      <dgm:prSet/>
      <dgm:spPr/>
      <dgm:t>
        <a:bodyPr/>
        <a:lstStyle/>
        <a:p>
          <a:endParaRPr lang="en-US"/>
        </a:p>
      </dgm:t>
    </dgm:pt>
    <dgm:pt modelId="{C1E92B0A-F110-4B88-A500-1595702F862C}">
      <dgm:prSet custT="1"/>
      <dgm:spPr/>
      <dgm:t>
        <a:bodyPr/>
        <a:lstStyle/>
        <a:p>
          <a:r>
            <a:rPr lang="en-US" sz="2000" b="1">
              <a:solidFill>
                <a:srgbClr val="FF0000"/>
              </a:solidFill>
              <a:latin typeface="Calibri"/>
              <a:ea typeface="Calibri"/>
              <a:cs typeface="Calibri"/>
            </a:rPr>
            <a:t>Notify student, being mindful of mental health implications of this news</a:t>
          </a:r>
          <a:endParaRPr lang="en-US" sz="2000" b="0">
            <a:solidFill>
              <a:schemeClr val="tx1"/>
            </a:solidFill>
            <a:latin typeface="Calibri"/>
            <a:ea typeface="Calibri"/>
            <a:cs typeface="Calibri"/>
          </a:endParaRPr>
        </a:p>
      </dgm:t>
    </dgm:pt>
    <dgm:pt modelId="{4EB5A7CB-EB80-4D5C-BE5A-86ACD03CA80E}" type="parTrans" cxnId="{B1D29E2E-BCFA-4EDF-8691-D116DEAFD1EA}">
      <dgm:prSet/>
      <dgm:spPr/>
      <dgm:t>
        <a:bodyPr/>
        <a:lstStyle/>
        <a:p>
          <a:endParaRPr lang="en-US"/>
        </a:p>
      </dgm:t>
    </dgm:pt>
    <dgm:pt modelId="{DFFBE30D-9CAC-46F3-8CF4-4B1DC12F4A9F}" type="sibTrans" cxnId="{B1D29E2E-BCFA-4EDF-8691-D116DEAFD1EA}">
      <dgm:prSet/>
      <dgm:spPr/>
      <dgm:t>
        <a:bodyPr/>
        <a:lstStyle/>
        <a:p>
          <a:endParaRPr lang="en-US"/>
        </a:p>
      </dgm:t>
    </dgm:pt>
    <dgm:pt modelId="{B5D61433-701D-4F28-AEF9-D678D96748BB}">
      <dgm:prSet custT="1"/>
      <dgm:spPr/>
      <dgm:t>
        <a:bodyPr/>
        <a:lstStyle/>
        <a:p>
          <a:r>
            <a:rPr lang="en-US" sz="1800" b="1">
              <a:solidFill>
                <a:srgbClr val="FF0000"/>
              </a:solidFill>
              <a:latin typeface="Calibri" panose="020F0502020204030204" pitchFamily="34" charset="0"/>
              <a:ea typeface="Calibri" panose="020F0502020204030204" pitchFamily="34" charset="0"/>
              <a:cs typeface="Calibri" panose="020F0502020204030204" pitchFamily="34" charset="0"/>
            </a:rPr>
            <a:t>If not already done:</a:t>
          </a:r>
        </a:p>
      </dgm:t>
    </dgm:pt>
    <dgm:pt modelId="{0CE77F73-9478-489C-A92F-4DE20C798D4C}" type="parTrans" cxnId="{62EF67E5-6B4B-48CD-99C5-131AE3565C18}">
      <dgm:prSet/>
      <dgm:spPr/>
      <dgm:t>
        <a:bodyPr/>
        <a:lstStyle/>
        <a:p>
          <a:endParaRPr lang="en-US"/>
        </a:p>
      </dgm:t>
    </dgm:pt>
    <dgm:pt modelId="{CA8035F9-14C8-4FD4-ADC4-01E7695667E7}" type="sibTrans" cxnId="{62EF67E5-6B4B-48CD-99C5-131AE3565C18}">
      <dgm:prSet/>
      <dgm:spPr/>
      <dgm:t>
        <a:bodyPr/>
        <a:lstStyle/>
        <a:p>
          <a:endParaRPr lang="en-US"/>
        </a:p>
      </dgm:t>
    </dgm:pt>
    <dgm:pt modelId="{A97C5865-DE38-44E2-992E-35F802E433CF}">
      <dgm:prSet custT="1"/>
      <dgm:spPr/>
      <dgm:t>
        <a:bodyPr/>
        <a:lstStyle/>
        <a:p>
          <a:r>
            <a:rPr lang="en-US" sz="1800" b="0">
              <a:solidFill>
                <a:schemeClr val="tx1"/>
              </a:solidFill>
              <a:latin typeface="Calibri" panose="020F0502020204030204" pitchFamily="34" charset="0"/>
              <a:ea typeface="Calibri" panose="020F0502020204030204" pitchFamily="34" charset="0"/>
              <a:cs typeface="Calibri" panose="020F0502020204030204" pitchFamily="34" charset="0"/>
            </a:rPr>
            <a:t>Update emergency contact information, alternative caretaker contacts, and authorized pick-up contacts for all students</a:t>
          </a:r>
        </a:p>
      </dgm:t>
    </dgm:pt>
    <dgm:pt modelId="{FA14868A-165C-4164-A4AD-385F545043CB}" type="parTrans" cxnId="{D7C30175-AF23-4822-9B4E-183A9C747F4A}">
      <dgm:prSet/>
      <dgm:spPr/>
      <dgm:t>
        <a:bodyPr/>
        <a:lstStyle/>
        <a:p>
          <a:endParaRPr lang="en-US"/>
        </a:p>
      </dgm:t>
    </dgm:pt>
    <dgm:pt modelId="{5A16EFF8-7FAA-4A74-AF6F-AAE5F04AF2B3}" type="sibTrans" cxnId="{D7C30175-AF23-4822-9B4E-183A9C747F4A}">
      <dgm:prSet/>
      <dgm:spPr/>
      <dgm:t>
        <a:bodyPr/>
        <a:lstStyle/>
        <a:p>
          <a:endParaRPr lang="en-US"/>
        </a:p>
      </dgm:t>
    </dgm:pt>
    <dgm:pt modelId="{E69B46D1-BC47-4493-BBFF-B17087BB4E54}">
      <dgm:prSet custT="1"/>
      <dgm:spPr/>
      <dgm:t>
        <a:bodyPr/>
        <a:lstStyle/>
        <a:p>
          <a:r>
            <a:rPr lang="en-US" sz="1800" b="0">
              <a:solidFill>
                <a:schemeClr val="tx1"/>
              </a:solidFill>
              <a:latin typeface="Calibri" panose="020F0502020204030204" pitchFamily="34" charset="0"/>
              <a:ea typeface="Calibri" panose="020F0502020204030204" pitchFamily="34" charset="0"/>
              <a:cs typeface="Calibri" panose="020F0502020204030204" pitchFamily="34" charset="0"/>
            </a:rPr>
            <a:t>Share 'plan ahead' resources with families</a:t>
          </a:r>
        </a:p>
      </dgm:t>
    </dgm:pt>
    <dgm:pt modelId="{6683B7F8-9B35-40F2-9C5D-71734A25F78F}" type="parTrans" cxnId="{3C7572E9-772E-4E38-BAD3-B66E49D56D6B}">
      <dgm:prSet/>
      <dgm:spPr/>
      <dgm:t>
        <a:bodyPr/>
        <a:lstStyle/>
        <a:p>
          <a:endParaRPr lang="en-US"/>
        </a:p>
      </dgm:t>
    </dgm:pt>
    <dgm:pt modelId="{8B7AA3D9-4F91-440D-B05C-10D9E8D2A115}" type="sibTrans" cxnId="{3C7572E9-772E-4E38-BAD3-B66E49D56D6B}">
      <dgm:prSet/>
      <dgm:spPr/>
      <dgm:t>
        <a:bodyPr/>
        <a:lstStyle/>
        <a:p>
          <a:endParaRPr lang="en-US"/>
        </a:p>
      </dgm:t>
    </dgm:pt>
    <dgm:pt modelId="{BB320C20-586C-482F-95D8-24816C4CB217}">
      <dgm:prSet custT="1"/>
      <dgm:spPr/>
      <dgm:t>
        <a:bodyPr/>
        <a:lstStyle/>
        <a:p>
          <a:r>
            <a:rPr lang="en-US" sz="1800" b="0">
              <a:solidFill>
                <a:schemeClr val="tx1"/>
              </a:solidFill>
              <a:latin typeface="Calibri" panose="020F0502020204030204" pitchFamily="34" charset="0"/>
              <a:ea typeface="Calibri" panose="020F0502020204030204" pitchFamily="34" charset="0"/>
              <a:cs typeface="Calibri" panose="020F0502020204030204" pitchFamily="34" charset="0"/>
            </a:rPr>
            <a:t>Establish clear protocols for school response if a student or their family is detained by ICE </a:t>
          </a:r>
        </a:p>
      </dgm:t>
    </dgm:pt>
    <dgm:pt modelId="{EFBC6D93-C9C5-4736-B3A3-401378F71BF2}" type="parTrans" cxnId="{7BE5E8AD-516E-4EC5-A7E3-2D2018EECE0A}">
      <dgm:prSet/>
      <dgm:spPr/>
      <dgm:t>
        <a:bodyPr/>
        <a:lstStyle/>
        <a:p>
          <a:endParaRPr lang="en-US"/>
        </a:p>
      </dgm:t>
    </dgm:pt>
    <dgm:pt modelId="{227ED087-3FFA-4457-A21C-6236D5CD9543}" type="sibTrans" cxnId="{7BE5E8AD-516E-4EC5-A7E3-2D2018EECE0A}">
      <dgm:prSet/>
      <dgm:spPr/>
      <dgm:t>
        <a:bodyPr/>
        <a:lstStyle/>
        <a:p>
          <a:endParaRPr lang="en-US"/>
        </a:p>
      </dgm:t>
    </dgm:pt>
    <dgm:pt modelId="{4D5B4E4E-3CED-45A0-8974-94AEB54A8292}">
      <dgm:prSet custT="1"/>
      <dgm:spPr/>
      <dgm:t>
        <a:bodyPr/>
        <a:lstStyle/>
        <a:p>
          <a:r>
            <a:rPr lang="en-US" sz="1800" b="0">
              <a:solidFill>
                <a:schemeClr val="tx1"/>
              </a:solidFill>
              <a:latin typeface="Calibri" panose="020F0502020204030204" pitchFamily="34" charset="0"/>
              <a:ea typeface="Calibri" panose="020F0502020204030204" pitchFamily="34" charset="0"/>
              <a:cs typeface="Calibri" panose="020F0502020204030204" pitchFamily="34" charset="0"/>
            </a:rPr>
            <a:t>Be prepared for possible outreach by media contacts—consider student privacy concerns</a:t>
          </a:r>
        </a:p>
      </dgm:t>
    </dgm:pt>
    <dgm:pt modelId="{ADA963D6-3147-4010-B325-B8E899B35BBA}" type="parTrans" cxnId="{116A08EA-AE18-4AF9-8ED1-46522AEA3DFF}">
      <dgm:prSet/>
      <dgm:spPr/>
      <dgm:t>
        <a:bodyPr/>
        <a:lstStyle/>
        <a:p>
          <a:endParaRPr lang="en-US"/>
        </a:p>
      </dgm:t>
    </dgm:pt>
    <dgm:pt modelId="{6878BB0A-FD12-4693-B5F6-D97A89C63B4E}" type="sibTrans" cxnId="{116A08EA-AE18-4AF9-8ED1-46522AEA3DFF}">
      <dgm:prSet/>
      <dgm:spPr/>
      <dgm:t>
        <a:bodyPr/>
        <a:lstStyle/>
        <a:p>
          <a:endParaRPr lang="en-US"/>
        </a:p>
      </dgm:t>
    </dgm:pt>
    <dgm:pt modelId="{A418DB0A-2C02-4F99-8229-ACC1D5A02306}">
      <dgm:prSet custT="1"/>
      <dgm:spPr/>
      <dgm:t>
        <a:bodyPr/>
        <a:lstStyle/>
        <a:p>
          <a:endParaRPr lang="en-US" sz="1800" b="0">
            <a:solidFill>
              <a:schemeClr val="tx1"/>
            </a:solidFill>
            <a:latin typeface="Calibri" panose="020F0502020204030204" pitchFamily="34" charset="0"/>
            <a:ea typeface="Calibri" panose="020F0502020204030204" pitchFamily="34" charset="0"/>
            <a:cs typeface="Calibri" panose="020F0502020204030204" pitchFamily="34" charset="0"/>
          </a:endParaRPr>
        </a:p>
      </dgm:t>
    </dgm:pt>
    <dgm:pt modelId="{4D93A09D-4378-463E-8465-7EF2558772B5}" type="parTrans" cxnId="{22B3241F-1960-44CB-A3FE-7ECC6624FF7B}">
      <dgm:prSet/>
      <dgm:spPr/>
      <dgm:t>
        <a:bodyPr/>
        <a:lstStyle/>
        <a:p>
          <a:endParaRPr lang="en-US"/>
        </a:p>
      </dgm:t>
    </dgm:pt>
    <dgm:pt modelId="{9D1B1D4E-67EA-44EA-862D-2F1A246B6ED9}" type="sibTrans" cxnId="{22B3241F-1960-44CB-A3FE-7ECC6624FF7B}">
      <dgm:prSet/>
      <dgm:spPr/>
      <dgm:t>
        <a:bodyPr/>
        <a:lstStyle/>
        <a:p>
          <a:endParaRPr lang="en-US"/>
        </a:p>
      </dgm:t>
    </dgm:pt>
    <dgm:pt modelId="{6597FEAB-27E6-4E14-A3D2-A8255106EC1E}" type="pres">
      <dgm:prSet presAssocID="{78313352-7F37-49F1-AF78-C2887D70FAFB}" presName="Name0" presStyleCnt="0">
        <dgm:presLayoutVars>
          <dgm:dir/>
          <dgm:animLvl val="lvl"/>
          <dgm:resizeHandles val="exact"/>
        </dgm:presLayoutVars>
      </dgm:prSet>
      <dgm:spPr/>
    </dgm:pt>
    <dgm:pt modelId="{6758443D-BE87-438A-86DA-39ED9B42777E}" type="pres">
      <dgm:prSet presAssocID="{59A8A362-BAE7-413F-97BC-75E6D0D489E5}" presName="composite" presStyleCnt="0"/>
      <dgm:spPr/>
    </dgm:pt>
    <dgm:pt modelId="{59019A88-07A4-43D8-88C4-9BF209DC27E5}" type="pres">
      <dgm:prSet presAssocID="{59A8A362-BAE7-413F-97BC-75E6D0D489E5}" presName="parTx" presStyleLbl="alignNode1" presStyleIdx="0" presStyleCnt="2" custScaleY="86719" custLinFactNeighborX="-1" custLinFactNeighborY="-65630">
        <dgm:presLayoutVars>
          <dgm:chMax val="0"/>
          <dgm:chPref val="0"/>
          <dgm:bulletEnabled val="1"/>
        </dgm:presLayoutVars>
      </dgm:prSet>
      <dgm:spPr/>
    </dgm:pt>
    <dgm:pt modelId="{855F6275-9653-4E64-953F-F03D94C52F30}" type="pres">
      <dgm:prSet presAssocID="{59A8A362-BAE7-413F-97BC-75E6D0D489E5}" presName="desTx" presStyleLbl="alignAccFollowNode1" presStyleIdx="0" presStyleCnt="2" custScaleY="100000">
        <dgm:presLayoutVars>
          <dgm:bulletEnabled val="1"/>
        </dgm:presLayoutVars>
      </dgm:prSet>
      <dgm:spPr/>
    </dgm:pt>
    <dgm:pt modelId="{670A1B88-5DAA-4199-97A8-973C2AC20B32}" type="pres">
      <dgm:prSet presAssocID="{F8B4CB0F-DF7D-4632-A74C-4711EA0F820F}" presName="space" presStyleCnt="0"/>
      <dgm:spPr/>
    </dgm:pt>
    <dgm:pt modelId="{CBEE5880-42A1-4A2A-B0B8-D94F07CEF0A1}" type="pres">
      <dgm:prSet presAssocID="{D1F5DF30-F845-47F1-99E1-78365E11A946}" presName="composite" presStyleCnt="0"/>
      <dgm:spPr/>
    </dgm:pt>
    <dgm:pt modelId="{9C6EF60A-314F-44F6-ABCA-278996C670F8}" type="pres">
      <dgm:prSet presAssocID="{D1F5DF30-F845-47F1-99E1-78365E11A946}" presName="parTx" presStyleLbl="alignNode1" presStyleIdx="1" presStyleCnt="2" custScaleY="88467" custLinFactNeighborX="1" custLinFactNeighborY="-48934">
        <dgm:presLayoutVars>
          <dgm:chMax val="0"/>
          <dgm:chPref val="0"/>
          <dgm:bulletEnabled val="1"/>
        </dgm:presLayoutVars>
      </dgm:prSet>
      <dgm:spPr/>
    </dgm:pt>
    <dgm:pt modelId="{CB19725E-6D59-4221-9296-0DEC0AD637EB}" type="pres">
      <dgm:prSet presAssocID="{D1F5DF30-F845-47F1-99E1-78365E11A946}" presName="desTx" presStyleLbl="alignAccFollowNode1" presStyleIdx="1" presStyleCnt="2">
        <dgm:presLayoutVars>
          <dgm:bulletEnabled val="1"/>
        </dgm:presLayoutVars>
      </dgm:prSet>
      <dgm:spPr/>
    </dgm:pt>
  </dgm:ptLst>
  <dgm:cxnLst>
    <dgm:cxn modelId="{5CCAC107-AAA7-4CA4-8044-F5F08CC105E9}" type="presOf" srcId="{59A8A362-BAE7-413F-97BC-75E6D0D489E5}" destId="{59019A88-07A4-43D8-88C4-9BF209DC27E5}" srcOrd="0" destOrd="0" presId="urn:microsoft.com/office/officeart/2005/8/layout/hList1"/>
    <dgm:cxn modelId="{89A3B10D-AC8E-4F49-8E1D-D3051FAB23F3}" srcId="{78313352-7F37-49F1-AF78-C2887D70FAFB}" destId="{59A8A362-BAE7-413F-97BC-75E6D0D489E5}" srcOrd="0" destOrd="0" parTransId="{ECB8672F-B6AD-477F-8D09-7F1685EFD70D}" sibTransId="{F8B4CB0F-DF7D-4632-A74C-4711EA0F820F}"/>
    <dgm:cxn modelId="{22B3241F-1960-44CB-A3FE-7ECC6624FF7B}" srcId="{D1F5DF30-F845-47F1-99E1-78365E11A946}" destId="{A418DB0A-2C02-4F99-8229-ACC1D5A02306}" srcOrd="2" destOrd="0" parTransId="{4D93A09D-4378-463E-8465-7EF2558772B5}" sibTransId="{9D1B1D4E-67EA-44EA-862D-2F1A246B6ED9}"/>
    <dgm:cxn modelId="{A987E52B-95B2-4CF5-8D6B-A54D043FAD14}" type="presOf" srcId="{D1F5DF30-F845-47F1-99E1-78365E11A946}" destId="{9C6EF60A-314F-44F6-ABCA-278996C670F8}" srcOrd="0" destOrd="0" presId="urn:microsoft.com/office/officeart/2005/8/layout/hList1"/>
    <dgm:cxn modelId="{482F852D-8877-4885-888E-0307BB6D702C}" type="presOf" srcId="{BB320C20-586C-482F-95D8-24816C4CB217}" destId="{CB19725E-6D59-4221-9296-0DEC0AD637EB}" srcOrd="0" destOrd="6" presId="urn:microsoft.com/office/officeart/2005/8/layout/hList1"/>
    <dgm:cxn modelId="{B1D29E2E-BCFA-4EDF-8691-D116DEAFD1EA}" srcId="{59A8A362-BAE7-413F-97BC-75E6D0D489E5}" destId="{C1E92B0A-F110-4B88-A500-1595702F862C}" srcOrd="1" destOrd="0" parTransId="{4EB5A7CB-EB80-4D5C-BE5A-86ACD03CA80E}" sibTransId="{DFFBE30D-9CAC-46F3-8CF4-4B1DC12F4A9F}"/>
    <dgm:cxn modelId="{84448243-BAAE-405A-B174-A409A0C09353}" type="presOf" srcId="{C1E92B0A-F110-4B88-A500-1595702F862C}" destId="{855F6275-9653-4E64-953F-F03D94C52F30}" srcOrd="0" destOrd="3" presId="urn:microsoft.com/office/officeart/2005/8/layout/hList1"/>
    <dgm:cxn modelId="{E6D24C6B-4CFF-42AA-8D43-B9C8127A0529}" type="presOf" srcId="{E69B46D1-BC47-4493-BBFF-B17087BB4E54}" destId="{CB19725E-6D59-4221-9296-0DEC0AD637EB}" srcOrd="0" destOrd="5" presId="urn:microsoft.com/office/officeart/2005/8/layout/hList1"/>
    <dgm:cxn modelId="{2DA0E570-927D-4D2C-B1AA-9AFCF247E485}" srcId="{59A8A362-BAE7-413F-97BC-75E6D0D489E5}" destId="{EEA44D19-0814-4ECC-9A99-787ED9800FB4}" srcOrd="0" destOrd="0" parTransId="{0A29E14D-2BFC-4E4B-BA28-E1E043286C79}" sibTransId="{9B13C696-BA62-49B9-80C2-F6260626F4C4}"/>
    <dgm:cxn modelId="{D69D2D51-E782-418B-9B67-10E846F1BBFC}" srcId="{EEA44D19-0814-4ECC-9A99-787ED9800FB4}" destId="{5447606D-C62D-4689-B36E-7395075DE279}" srcOrd="1" destOrd="0" parTransId="{EE6EA8EB-AA1B-46FF-B182-22DDE1C1E148}" sibTransId="{936BE3CE-8C8A-4509-A36B-83086650EABC}"/>
    <dgm:cxn modelId="{D7C30175-AF23-4822-9B4E-183A9C747F4A}" srcId="{B5D61433-701D-4F28-AEF9-D678D96748BB}" destId="{A97C5865-DE38-44E2-992E-35F802E433CF}" srcOrd="0" destOrd="0" parTransId="{FA14868A-165C-4164-A4AD-385F545043CB}" sibTransId="{5A16EFF8-7FAA-4A74-AF6F-AAE5F04AF2B3}"/>
    <dgm:cxn modelId="{0E61C557-6B4E-48D7-8932-0361C5C298C6}" srcId="{EEA44D19-0814-4ECC-9A99-787ED9800FB4}" destId="{623A0BF3-7621-4013-9D30-3CF7A90F9D4C}" srcOrd="0" destOrd="0" parTransId="{B1C5C23E-A5C0-4252-9130-AAC38989E99E}" sibTransId="{676FB66C-E24F-42DE-8C61-DE0B2F9A20FF}"/>
    <dgm:cxn modelId="{08D6C05A-B9C7-483F-A990-D14B34B3A63B}" type="presOf" srcId="{4D5B4E4E-3CED-45A0-8974-94AEB54A8292}" destId="{CB19725E-6D59-4221-9296-0DEC0AD637EB}" srcOrd="0" destOrd="1" presId="urn:microsoft.com/office/officeart/2005/8/layout/hList1"/>
    <dgm:cxn modelId="{D7384191-7D43-476A-8539-F437E524C1F3}" type="presOf" srcId="{EEA44D19-0814-4ECC-9A99-787ED9800FB4}" destId="{855F6275-9653-4E64-953F-F03D94C52F30}" srcOrd="0" destOrd="0" presId="urn:microsoft.com/office/officeart/2005/8/layout/hList1"/>
    <dgm:cxn modelId="{7BE5E8AD-516E-4EC5-A7E3-2D2018EECE0A}" srcId="{B5D61433-701D-4F28-AEF9-D678D96748BB}" destId="{BB320C20-586C-482F-95D8-24816C4CB217}" srcOrd="2" destOrd="0" parTransId="{EFBC6D93-C9C5-4736-B3A3-401378F71BF2}" sibTransId="{227ED087-3FFA-4457-A21C-6236D5CD9543}"/>
    <dgm:cxn modelId="{7C88E3B2-BF32-4B4C-8227-B147B8E1ED4F}" type="presOf" srcId="{78313352-7F37-49F1-AF78-C2887D70FAFB}" destId="{6597FEAB-27E6-4E14-A3D2-A8255106EC1E}" srcOrd="0" destOrd="0" presId="urn:microsoft.com/office/officeart/2005/8/layout/hList1"/>
    <dgm:cxn modelId="{54F2A4B3-1FD2-4949-AC3B-7E9BB5302B82}" type="presOf" srcId="{5447606D-C62D-4689-B36E-7395075DE279}" destId="{855F6275-9653-4E64-953F-F03D94C52F30}" srcOrd="0" destOrd="2" presId="urn:microsoft.com/office/officeart/2005/8/layout/hList1"/>
    <dgm:cxn modelId="{84E0D2C0-5340-4145-96F3-9ADD97847CED}" srcId="{D1F5DF30-F845-47F1-99E1-78365E11A946}" destId="{0495B63D-BEED-4EFE-973D-50AF0FA353A6}" srcOrd="0" destOrd="0" parTransId="{89430307-D7E7-4878-8123-BD066E89488A}" sibTransId="{896493FF-2B72-4CDB-B0BC-3A8E9E48E0AF}"/>
    <dgm:cxn modelId="{920742D1-7C9F-4509-85EC-E40211DBF338}" type="presOf" srcId="{0495B63D-BEED-4EFE-973D-50AF0FA353A6}" destId="{CB19725E-6D59-4221-9296-0DEC0AD637EB}" srcOrd="0" destOrd="0" presId="urn:microsoft.com/office/officeart/2005/8/layout/hList1"/>
    <dgm:cxn modelId="{2EEA29D3-8BE8-4FD1-ABD9-65A0F57822F5}" type="presOf" srcId="{A418DB0A-2C02-4F99-8229-ACC1D5A02306}" destId="{CB19725E-6D59-4221-9296-0DEC0AD637EB}" srcOrd="0" destOrd="2" presId="urn:microsoft.com/office/officeart/2005/8/layout/hList1"/>
    <dgm:cxn modelId="{F8231EE0-312C-468B-BFB3-6B33976D1375}" type="presOf" srcId="{B5D61433-701D-4F28-AEF9-D678D96748BB}" destId="{CB19725E-6D59-4221-9296-0DEC0AD637EB}" srcOrd="0" destOrd="3" presId="urn:microsoft.com/office/officeart/2005/8/layout/hList1"/>
    <dgm:cxn modelId="{A06B4EE0-609B-4A4B-BC0C-7DC9DD2A6456}" type="presOf" srcId="{A97C5865-DE38-44E2-992E-35F802E433CF}" destId="{CB19725E-6D59-4221-9296-0DEC0AD637EB}" srcOrd="0" destOrd="4" presId="urn:microsoft.com/office/officeart/2005/8/layout/hList1"/>
    <dgm:cxn modelId="{62EF67E5-6B4B-48CD-99C5-131AE3565C18}" srcId="{D1F5DF30-F845-47F1-99E1-78365E11A946}" destId="{B5D61433-701D-4F28-AEF9-D678D96748BB}" srcOrd="3" destOrd="0" parTransId="{0CE77F73-9478-489C-A92F-4DE20C798D4C}" sibTransId="{CA8035F9-14C8-4FD4-ADC4-01E7695667E7}"/>
    <dgm:cxn modelId="{3C7572E9-772E-4E38-BAD3-B66E49D56D6B}" srcId="{B5D61433-701D-4F28-AEF9-D678D96748BB}" destId="{E69B46D1-BC47-4493-BBFF-B17087BB4E54}" srcOrd="1" destOrd="0" parTransId="{6683B7F8-9B35-40F2-9C5D-71734A25F78F}" sibTransId="{8B7AA3D9-4F91-440D-B05C-10D9E8D2A115}"/>
    <dgm:cxn modelId="{116A08EA-AE18-4AF9-8ED1-46522AEA3DFF}" srcId="{D1F5DF30-F845-47F1-99E1-78365E11A946}" destId="{4D5B4E4E-3CED-45A0-8974-94AEB54A8292}" srcOrd="1" destOrd="0" parTransId="{ADA963D6-3147-4010-B325-B8E899B35BBA}" sibTransId="{6878BB0A-FD12-4693-B5F6-D97A89C63B4E}"/>
    <dgm:cxn modelId="{332661F6-E72A-47EB-AAC3-624C362DD75F}" srcId="{78313352-7F37-49F1-AF78-C2887D70FAFB}" destId="{D1F5DF30-F845-47F1-99E1-78365E11A946}" srcOrd="1" destOrd="0" parTransId="{AEF4EA5E-CD93-4250-8C83-90F5EB0B4146}" sibTransId="{B0C07B93-5739-4E47-BC39-BFB95F340B4B}"/>
    <dgm:cxn modelId="{681CB1F6-072A-4946-AC91-1C83E71731D9}" type="presOf" srcId="{623A0BF3-7621-4013-9D30-3CF7A90F9D4C}" destId="{855F6275-9653-4E64-953F-F03D94C52F30}" srcOrd="0" destOrd="1" presId="urn:microsoft.com/office/officeart/2005/8/layout/hList1"/>
    <dgm:cxn modelId="{DF20A446-CAB6-4579-805E-63F8729B6088}" type="presParOf" srcId="{6597FEAB-27E6-4E14-A3D2-A8255106EC1E}" destId="{6758443D-BE87-438A-86DA-39ED9B42777E}" srcOrd="0" destOrd="0" presId="urn:microsoft.com/office/officeart/2005/8/layout/hList1"/>
    <dgm:cxn modelId="{B744706D-8FAC-4B1E-843E-28F73E3F29A5}" type="presParOf" srcId="{6758443D-BE87-438A-86DA-39ED9B42777E}" destId="{59019A88-07A4-43D8-88C4-9BF209DC27E5}" srcOrd="0" destOrd="0" presId="urn:microsoft.com/office/officeart/2005/8/layout/hList1"/>
    <dgm:cxn modelId="{674CB1BA-47B8-450E-B7CA-F627AFBCD2EB}" type="presParOf" srcId="{6758443D-BE87-438A-86DA-39ED9B42777E}" destId="{855F6275-9653-4E64-953F-F03D94C52F30}" srcOrd="1" destOrd="0" presId="urn:microsoft.com/office/officeart/2005/8/layout/hList1"/>
    <dgm:cxn modelId="{A4CFFE30-6187-47DF-A34C-82BB5F3A3436}" type="presParOf" srcId="{6597FEAB-27E6-4E14-A3D2-A8255106EC1E}" destId="{670A1B88-5DAA-4199-97A8-973C2AC20B32}" srcOrd="1" destOrd="0" presId="urn:microsoft.com/office/officeart/2005/8/layout/hList1"/>
    <dgm:cxn modelId="{AEA12282-10BB-47C7-A054-2AB419DFF41D}" type="presParOf" srcId="{6597FEAB-27E6-4E14-A3D2-A8255106EC1E}" destId="{CBEE5880-42A1-4A2A-B0B8-D94F07CEF0A1}" srcOrd="2" destOrd="0" presId="urn:microsoft.com/office/officeart/2005/8/layout/hList1"/>
    <dgm:cxn modelId="{12802186-D080-40FB-8104-8E86374B59CD}" type="presParOf" srcId="{CBEE5880-42A1-4A2A-B0B8-D94F07CEF0A1}" destId="{9C6EF60A-314F-44F6-ABCA-278996C670F8}" srcOrd="0" destOrd="0" presId="urn:microsoft.com/office/officeart/2005/8/layout/hList1"/>
    <dgm:cxn modelId="{3E6814D1-1007-4DCF-990E-3E57EDA065C4}" type="presParOf" srcId="{CBEE5880-42A1-4A2A-B0B8-D94F07CEF0A1}" destId="{CB19725E-6D59-4221-9296-0DEC0AD637E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8313352-7F37-49F1-AF78-C2887D70FA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9A8A362-BAE7-413F-97BC-75E6D0D489E5}">
      <dgm:prSet custT="1"/>
      <dgm:spPr/>
      <dgm:t>
        <a:bodyPr/>
        <a:lstStyle/>
        <a:p>
          <a:r>
            <a:rPr lang="en-US" sz="2000" b="1" i="1">
              <a:solidFill>
                <a:schemeClr val="bg1"/>
              </a:solidFill>
              <a:latin typeface="Calibri"/>
              <a:ea typeface="Calibri"/>
              <a:cs typeface="Calibri"/>
            </a:rPr>
            <a:t>Supporting Impacted Student</a:t>
          </a:r>
          <a:endParaRPr lang="en-US" sz="2400" b="1" i="1">
            <a:solidFill>
              <a:schemeClr val="bg1"/>
            </a:solidFill>
          </a:endParaRPr>
        </a:p>
      </dgm:t>
    </dgm:pt>
    <dgm:pt modelId="{ECB8672F-B6AD-477F-8D09-7F1685EFD70D}" type="parTrans" cxnId="{89A3B10D-AC8E-4F49-8E1D-D3051FAB23F3}">
      <dgm:prSet/>
      <dgm:spPr/>
      <dgm:t>
        <a:bodyPr/>
        <a:lstStyle/>
        <a:p>
          <a:endParaRPr lang="en-US"/>
        </a:p>
      </dgm:t>
    </dgm:pt>
    <dgm:pt modelId="{F8B4CB0F-DF7D-4632-A74C-4711EA0F820F}" type="sibTrans" cxnId="{89A3B10D-AC8E-4F49-8E1D-D3051FAB23F3}">
      <dgm:prSet/>
      <dgm:spPr/>
      <dgm:t>
        <a:bodyPr/>
        <a:lstStyle/>
        <a:p>
          <a:endParaRPr lang="en-US"/>
        </a:p>
      </dgm:t>
    </dgm:pt>
    <dgm:pt modelId="{0495B63D-BEED-4EFE-973D-50AF0FA353A6}">
      <dgm:prSet custT="1"/>
      <dgm:spPr/>
      <dgm:t>
        <a:bodyPr/>
        <a:lstStyle/>
        <a:p>
          <a:r>
            <a:rPr lang="en-US" sz="2000" b="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 indirectly impacted</a:t>
          </a:r>
        </a:p>
      </dgm:t>
    </dgm:pt>
    <dgm:pt modelId="{89430307-D7E7-4878-8123-BD066E89488A}" type="parTrans" cxnId="{84E0D2C0-5340-4145-96F3-9ADD97847CED}">
      <dgm:prSet/>
      <dgm:spPr/>
      <dgm:t>
        <a:bodyPr/>
        <a:lstStyle/>
        <a:p>
          <a:endParaRPr lang="en-US"/>
        </a:p>
      </dgm:t>
    </dgm:pt>
    <dgm:pt modelId="{896493FF-2B72-4CDB-B0BC-3A8E9E48E0AF}" type="sibTrans" cxnId="{84E0D2C0-5340-4145-96F3-9ADD97847CED}">
      <dgm:prSet/>
      <dgm:spPr/>
      <dgm:t>
        <a:bodyPr/>
        <a:lstStyle/>
        <a:p>
          <a:endParaRPr lang="en-US"/>
        </a:p>
      </dgm:t>
    </dgm:pt>
    <dgm:pt modelId="{D1F5DF30-F845-47F1-99E1-78365E11A946}">
      <dgm:prSet custT="1"/>
      <dgm:spPr/>
      <dgm:t>
        <a:bodyPr/>
        <a:lstStyle/>
        <a:p>
          <a:r>
            <a:rPr lang="en-US" sz="2000" b="1" i="1">
              <a:solidFill>
                <a:schemeClr val="bg1"/>
              </a:solidFill>
              <a:latin typeface="Calibri" panose="020F0502020204030204" pitchFamily="34" charset="0"/>
              <a:ea typeface="Calibri" panose="020F0502020204030204" pitchFamily="34" charset="0"/>
              <a:cs typeface="Calibri" panose="020F0502020204030204" pitchFamily="34" charset="0"/>
            </a:rPr>
            <a:t>Community-wide Considerations</a:t>
          </a:r>
          <a:endParaRPr lang="en-US" sz="2000" b="0" i="1">
            <a:solidFill>
              <a:schemeClr val="bg1"/>
            </a:solidFill>
            <a:latin typeface="Calibri" panose="020F0502020204030204" pitchFamily="34" charset="0"/>
            <a:ea typeface="Calibri" panose="020F0502020204030204" pitchFamily="34" charset="0"/>
            <a:cs typeface="Calibri" panose="020F0502020204030204" pitchFamily="34" charset="0"/>
          </a:endParaRPr>
        </a:p>
      </dgm:t>
    </dgm:pt>
    <dgm:pt modelId="{B0C07B93-5739-4E47-BC39-BFB95F340B4B}" type="sibTrans" cxnId="{332661F6-E72A-47EB-AAC3-624C362DD75F}">
      <dgm:prSet/>
      <dgm:spPr/>
      <dgm:t>
        <a:bodyPr/>
        <a:lstStyle/>
        <a:p>
          <a:endParaRPr lang="en-US"/>
        </a:p>
      </dgm:t>
    </dgm:pt>
    <dgm:pt modelId="{AEF4EA5E-CD93-4250-8C83-90F5EB0B4146}" type="parTrans" cxnId="{332661F6-E72A-47EB-AAC3-624C362DD75F}">
      <dgm:prSet/>
      <dgm:spPr/>
      <dgm:t>
        <a:bodyPr/>
        <a:lstStyle/>
        <a:p>
          <a:endParaRPr lang="en-US"/>
        </a:p>
      </dgm:t>
    </dgm:pt>
    <dgm:pt modelId="{EEA44D19-0814-4ECC-9A99-787ED9800FB4}">
      <dgm:prSet custT="1"/>
      <dgm:spPr/>
      <dgm:t>
        <a:bodyPr/>
        <a:lstStyle/>
        <a:p>
          <a:r>
            <a:rPr lang="en-US" sz="1800" b="1">
              <a:solidFill>
                <a:srgbClr val="FF0000"/>
              </a:solidFill>
              <a:latin typeface="Calibri"/>
              <a:ea typeface="Calibri"/>
              <a:cs typeface="Calibri"/>
            </a:rPr>
            <a:t>Check in with student:</a:t>
          </a:r>
          <a:r>
            <a:rPr lang="en-US" sz="1800" b="0">
              <a:solidFill>
                <a:schemeClr val="tx1"/>
              </a:solidFill>
              <a:latin typeface="Calibri"/>
              <a:ea typeface="Calibri"/>
              <a:cs typeface="Calibri"/>
            </a:rPr>
            <a:t> </a:t>
          </a:r>
        </a:p>
      </dgm:t>
    </dgm:pt>
    <dgm:pt modelId="{0A29E14D-2BFC-4E4B-BA28-E1E043286C79}" type="parTrans" cxnId="{2DA0E570-927D-4D2C-B1AA-9AFCF247E485}">
      <dgm:prSet/>
      <dgm:spPr/>
      <dgm:t>
        <a:bodyPr/>
        <a:lstStyle/>
        <a:p>
          <a:endParaRPr lang="en-US"/>
        </a:p>
      </dgm:t>
    </dgm:pt>
    <dgm:pt modelId="{9B13C696-BA62-49B9-80C2-F6260626F4C4}" type="sibTrans" cxnId="{2DA0E570-927D-4D2C-B1AA-9AFCF247E485}">
      <dgm:prSet/>
      <dgm:spPr/>
      <dgm:t>
        <a:bodyPr/>
        <a:lstStyle/>
        <a:p>
          <a:endParaRPr lang="en-US"/>
        </a:p>
      </dgm:t>
    </dgm:pt>
    <dgm:pt modelId="{623A0BF3-7621-4013-9D30-3CF7A90F9D4C}">
      <dgm:prSet custT="1"/>
      <dgm:spPr/>
      <dgm:t>
        <a:bodyPr/>
        <a:lstStyle/>
        <a:p>
          <a:r>
            <a:rPr lang="en-US" sz="1800" b="0">
              <a:solidFill>
                <a:schemeClr val="tx1"/>
              </a:solidFill>
              <a:latin typeface="Calibri"/>
              <a:ea typeface="Calibri"/>
              <a:cs typeface="Calibri"/>
            </a:rPr>
            <a:t>Offer school counseling support</a:t>
          </a:r>
        </a:p>
      </dgm:t>
    </dgm:pt>
    <dgm:pt modelId="{B1C5C23E-A5C0-4252-9130-AAC38989E99E}" type="parTrans" cxnId="{0E61C557-6B4E-48D7-8932-0361C5C298C6}">
      <dgm:prSet/>
      <dgm:spPr/>
      <dgm:t>
        <a:bodyPr/>
        <a:lstStyle/>
        <a:p>
          <a:endParaRPr lang="en-US"/>
        </a:p>
      </dgm:t>
    </dgm:pt>
    <dgm:pt modelId="{676FB66C-E24F-42DE-8C61-DE0B2F9A20FF}" type="sibTrans" cxnId="{0E61C557-6B4E-48D7-8932-0361C5C298C6}">
      <dgm:prSet/>
      <dgm:spPr/>
      <dgm:t>
        <a:bodyPr/>
        <a:lstStyle/>
        <a:p>
          <a:endParaRPr lang="en-US"/>
        </a:p>
      </dgm:t>
    </dgm:pt>
    <dgm:pt modelId="{4D5B4E4E-3CED-45A0-8974-94AEB54A8292}">
      <dgm:prSet custT="1"/>
      <dgm:spPr/>
      <dgm:t>
        <a:bodyPr/>
        <a:lstStyle/>
        <a:p>
          <a:r>
            <a:rPr lang="en-US" sz="2000" b="0">
              <a:solidFill>
                <a:schemeClr val="tx1"/>
              </a:solidFill>
              <a:latin typeface="Calibri" panose="020F0502020204030204" pitchFamily="34" charset="0"/>
              <a:ea typeface="Calibri" panose="020F0502020204030204" pitchFamily="34" charset="0"/>
              <a:cs typeface="Calibri" panose="020F0502020204030204" pitchFamily="34" charset="0"/>
            </a:rPr>
            <a:t>Be prepared for possible outreach by media contacts—consider student privacy concerns</a:t>
          </a:r>
        </a:p>
      </dgm:t>
    </dgm:pt>
    <dgm:pt modelId="{ADA963D6-3147-4010-B325-B8E899B35BBA}" type="parTrans" cxnId="{116A08EA-AE18-4AF9-8ED1-46522AEA3DFF}">
      <dgm:prSet/>
      <dgm:spPr/>
      <dgm:t>
        <a:bodyPr/>
        <a:lstStyle/>
        <a:p>
          <a:endParaRPr lang="en-US"/>
        </a:p>
      </dgm:t>
    </dgm:pt>
    <dgm:pt modelId="{6878BB0A-FD12-4693-B5F6-D97A89C63B4E}" type="sibTrans" cxnId="{116A08EA-AE18-4AF9-8ED1-46522AEA3DFF}">
      <dgm:prSet/>
      <dgm:spPr/>
      <dgm:t>
        <a:bodyPr/>
        <a:lstStyle/>
        <a:p>
          <a:endParaRPr lang="en-US"/>
        </a:p>
      </dgm:t>
    </dgm:pt>
    <dgm:pt modelId="{320B2FA3-25DD-4826-A1D1-19E43FE36AF4}">
      <dgm:prSet custT="1"/>
      <dgm:spPr/>
      <dgm:t>
        <a:bodyPr/>
        <a:lstStyle/>
        <a:p>
          <a:r>
            <a:rPr lang="en-US" sz="1800" b="0">
              <a:solidFill>
                <a:schemeClr val="tx1"/>
              </a:solidFill>
              <a:latin typeface="Calibri"/>
              <a:ea typeface="Calibri"/>
              <a:cs typeface="Calibri"/>
            </a:rPr>
            <a:t>Is there a </a:t>
          </a:r>
          <a:r>
            <a:rPr lang="en-US" sz="1800" b="1">
              <a:solidFill>
                <a:srgbClr val="FF0000"/>
              </a:solidFill>
              <a:latin typeface="Calibri"/>
              <a:ea typeface="Calibri"/>
              <a:cs typeface="Calibri"/>
            </a:rPr>
            <a:t>custodial chain </a:t>
          </a:r>
          <a:r>
            <a:rPr lang="en-US" sz="1800" b="0">
              <a:solidFill>
                <a:schemeClr val="tx1"/>
              </a:solidFill>
              <a:latin typeface="Calibri"/>
              <a:ea typeface="Calibri"/>
              <a:cs typeface="Calibri"/>
            </a:rPr>
            <a:t>on file? Check for alternative caregiver documents (e.g., caregiver authorization affidavit, temporary agent, guardian) </a:t>
          </a:r>
          <a:r>
            <a:rPr lang="en-US" sz="1800" b="0">
              <a:solidFill>
                <a:schemeClr val="tx1"/>
              </a:solidFill>
              <a:latin typeface="Calibri"/>
              <a:ea typeface="Calibri"/>
              <a:cs typeface="Calibri"/>
              <a:sym typeface="Wingdings" panose="05000000000000000000" pitchFamily="2" charset="2"/>
            </a:rPr>
            <a:t> </a:t>
          </a:r>
          <a:r>
            <a:rPr lang="en-US" sz="1800" b="0">
              <a:solidFill>
                <a:schemeClr val="tx1"/>
              </a:solidFill>
              <a:latin typeface="Calibri"/>
              <a:ea typeface="Calibri"/>
              <a:cs typeface="Calibri"/>
            </a:rPr>
            <a:t>If no alternative caregiver plan in place: DCF</a:t>
          </a:r>
        </a:p>
      </dgm:t>
    </dgm:pt>
    <dgm:pt modelId="{8E0BFE7A-5A82-4F11-83EA-1E595537F3C2}" type="parTrans" cxnId="{675F3C63-2438-4F16-987C-6F74EE73C157}">
      <dgm:prSet/>
      <dgm:spPr/>
      <dgm:t>
        <a:bodyPr/>
        <a:lstStyle/>
        <a:p>
          <a:endParaRPr lang="en-US"/>
        </a:p>
      </dgm:t>
    </dgm:pt>
    <dgm:pt modelId="{4881FCEF-265B-47FD-8CBF-78B90DE51F02}" type="sibTrans" cxnId="{675F3C63-2438-4F16-987C-6F74EE73C157}">
      <dgm:prSet/>
      <dgm:spPr/>
      <dgm:t>
        <a:bodyPr/>
        <a:lstStyle/>
        <a:p>
          <a:endParaRPr lang="en-US"/>
        </a:p>
      </dgm:t>
    </dgm:pt>
    <dgm:pt modelId="{9AF53DE5-5E43-4921-A18E-CCF86247F8FA}">
      <dgm:prSet custT="1"/>
      <dgm:spPr/>
      <dgm:t>
        <a:bodyPr/>
        <a:lstStyle/>
        <a:p>
          <a:r>
            <a:rPr lang="en-US" sz="1800" b="0">
              <a:solidFill>
                <a:schemeClr val="tx1"/>
              </a:solidFill>
              <a:latin typeface="Calibri" panose="020F0502020204030204" pitchFamily="34" charset="0"/>
              <a:ea typeface="Calibri" panose="020F0502020204030204" pitchFamily="34" charset="0"/>
              <a:cs typeface="Calibri" panose="020F0502020204030204" pitchFamily="34" charset="0"/>
            </a:rPr>
            <a:t>Alert school and district leadership</a:t>
          </a:r>
          <a:endParaRPr lang="en-US" sz="1800" b="0">
            <a:solidFill>
              <a:schemeClr val="tx1"/>
            </a:solidFill>
            <a:latin typeface="Calibri"/>
            <a:ea typeface="Calibri"/>
            <a:cs typeface="Calibri"/>
          </a:endParaRPr>
        </a:p>
      </dgm:t>
    </dgm:pt>
    <dgm:pt modelId="{EC8EA892-12E8-4EE3-A4C7-64C8DD6B2718}" type="parTrans" cxnId="{FDB14E04-28B2-4826-855A-3AC546DE4BB2}">
      <dgm:prSet/>
      <dgm:spPr/>
      <dgm:t>
        <a:bodyPr/>
        <a:lstStyle/>
        <a:p>
          <a:endParaRPr lang="en-US"/>
        </a:p>
      </dgm:t>
    </dgm:pt>
    <dgm:pt modelId="{A241EB4A-B100-4B3E-A631-646762AA31AE}" type="sibTrans" cxnId="{FDB14E04-28B2-4826-855A-3AC546DE4BB2}">
      <dgm:prSet/>
      <dgm:spPr/>
      <dgm:t>
        <a:bodyPr/>
        <a:lstStyle/>
        <a:p>
          <a:endParaRPr lang="en-US"/>
        </a:p>
      </dgm:t>
    </dgm:pt>
    <dgm:pt modelId="{4587922D-D866-4F87-AF62-8B93B10EE70D}">
      <dgm:prSet custT="1"/>
      <dgm:spPr/>
      <dgm:t>
        <a:bodyPr/>
        <a:lstStyle/>
        <a:p>
          <a:r>
            <a:rPr lang="en-US" sz="1800" b="0">
              <a:solidFill>
                <a:schemeClr val="tx1"/>
              </a:solidFill>
              <a:latin typeface="Calibri"/>
              <a:ea typeface="Calibri"/>
              <a:cs typeface="Calibri"/>
            </a:rPr>
            <a:t>Refer to additional mental health services as appropriate</a:t>
          </a:r>
        </a:p>
      </dgm:t>
    </dgm:pt>
    <dgm:pt modelId="{3A872830-01A9-49B0-B137-58900223AA2A}" type="parTrans" cxnId="{66B64F79-072A-4C7F-B2C4-37CAE092E167}">
      <dgm:prSet/>
      <dgm:spPr/>
      <dgm:t>
        <a:bodyPr/>
        <a:lstStyle/>
        <a:p>
          <a:endParaRPr lang="en-US"/>
        </a:p>
      </dgm:t>
    </dgm:pt>
    <dgm:pt modelId="{EF924B23-6E0B-4D31-8F1C-2DEBB7DE9367}" type="sibTrans" cxnId="{66B64F79-072A-4C7F-B2C4-37CAE092E167}">
      <dgm:prSet/>
      <dgm:spPr/>
      <dgm:t>
        <a:bodyPr/>
        <a:lstStyle/>
        <a:p>
          <a:endParaRPr lang="en-US"/>
        </a:p>
      </dgm:t>
    </dgm:pt>
    <dgm:pt modelId="{6597FEAB-27E6-4E14-A3D2-A8255106EC1E}" type="pres">
      <dgm:prSet presAssocID="{78313352-7F37-49F1-AF78-C2887D70FAFB}" presName="Name0" presStyleCnt="0">
        <dgm:presLayoutVars>
          <dgm:dir/>
          <dgm:animLvl val="lvl"/>
          <dgm:resizeHandles val="exact"/>
        </dgm:presLayoutVars>
      </dgm:prSet>
      <dgm:spPr/>
    </dgm:pt>
    <dgm:pt modelId="{6758443D-BE87-438A-86DA-39ED9B42777E}" type="pres">
      <dgm:prSet presAssocID="{59A8A362-BAE7-413F-97BC-75E6D0D489E5}" presName="composite" presStyleCnt="0"/>
      <dgm:spPr/>
    </dgm:pt>
    <dgm:pt modelId="{59019A88-07A4-43D8-88C4-9BF209DC27E5}" type="pres">
      <dgm:prSet presAssocID="{59A8A362-BAE7-413F-97BC-75E6D0D489E5}" presName="parTx" presStyleLbl="alignNode1" presStyleIdx="0" presStyleCnt="2" custScaleY="86719" custLinFactNeighborX="-1" custLinFactNeighborY="-65630">
        <dgm:presLayoutVars>
          <dgm:chMax val="0"/>
          <dgm:chPref val="0"/>
          <dgm:bulletEnabled val="1"/>
        </dgm:presLayoutVars>
      </dgm:prSet>
      <dgm:spPr/>
    </dgm:pt>
    <dgm:pt modelId="{855F6275-9653-4E64-953F-F03D94C52F30}" type="pres">
      <dgm:prSet presAssocID="{59A8A362-BAE7-413F-97BC-75E6D0D489E5}" presName="desTx" presStyleLbl="alignAccFollowNode1" presStyleIdx="0" presStyleCnt="2" custScaleY="100000">
        <dgm:presLayoutVars>
          <dgm:bulletEnabled val="1"/>
        </dgm:presLayoutVars>
      </dgm:prSet>
      <dgm:spPr/>
    </dgm:pt>
    <dgm:pt modelId="{670A1B88-5DAA-4199-97A8-973C2AC20B32}" type="pres">
      <dgm:prSet presAssocID="{F8B4CB0F-DF7D-4632-A74C-4711EA0F820F}" presName="space" presStyleCnt="0"/>
      <dgm:spPr/>
    </dgm:pt>
    <dgm:pt modelId="{CBEE5880-42A1-4A2A-B0B8-D94F07CEF0A1}" type="pres">
      <dgm:prSet presAssocID="{D1F5DF30-F845-47F1-99E1-78365E11A946}" presName="composite" presStyleCnt="0"/>
      <dgm:spPr/>
    </dgm:pt>
    <dgm:pt modelId="{9C6EF60A-314F-44F6-ABCA-278996C670F8}" type="pres">
      <dgm:prSet presAssocID="{D1F5DF30-F845-47F1-99E1-78365E11A946}" presName="parTx" presStyleLbl="alignNode1" presStyleIdx="1" presStyleCnt="2" custScaleY="88467" custLinFactNeighborX="1" custLinFactNeighborY="-48934">
        <dgm:presLayoutVars>
          <dgm:chMax val="0"/>
          <dgm:chPref val="0"/>
          <dgm:bulletEnabled val="1"/>
        </dgm:presLayoutVars>
      </dgm:prSet>
      <dgm:spPr/>
    </dgm:pt>
    <dgm:pt modelId="{CB19725E-6D59-4221-9296-0DEC0AD637EB}" type="pres">
      <dgm:prSet presAssocID="{D1F5DF30-F845-47F1-99E1-78365E11A946}" presName="desTx" presStyleLbl="alignAccFollowNode1" presStyleIdx="1" presStyleCnt="2">
        <dgm:presLayoutVars>
          <dgm:bulletEnabled val="1"/>
        </dgm:presLayoutVars>
      </dgm:prSet>
      <dgm:spPr/>
    </dgm:pt>
  </dgm:ptLst>
  <dgm:cxnLst>
    <dgm:cxn modelId="{FDB14E04-28B2-4826-855A-3AC546DE4BB2}" srcId="{59A8A362-BAE7-413F-97BC-75E6D0D489E5}" destId="{9AF53DE5-5E43-4921-A18E-CCF86247F8FA}" srcOrd="2" destOrd="0" parTransId="{EC8EA892-12E8-4EE3-A4C7-64C8DD6B2718}" sibTransId="{A241EB4A-B100-4B3E-A631-646762AA31AE}"/>
    <dgm:cxn modelId="{5CCAC107-AAA7-4CA4-8044-F5F08CC105E9}" type="presOf" srcId="{59A8A362-BAE7-413F-97BC-75E6D0D489E5}" destId="{59019A88-07A4-43D8-88C4-9BF209DC27E5}" srcOrd="0" destOrd="0" presId="urn:microsoft.com/office/officeart/2005/8/layout/hList1"/>
    <dgm:cxn modelId="{89A3B10D-AC8E-4F49-8E1D-D3051FAB23F3}" srcId="{78313352-7F37-49F1-AF78-C2887D70FAFB}" destId="{59A8A362-BAE7-413F-97BC-75E6D0D489E5}" srcOrd="0" destOrd="0" parTransId="{ECB8672F-B6AD-477F-8D09-7F1685EFD70D}" sibTransId="{F8B4CB0F-DF7D-4632-A74C-4711EA0F820F}"/>
    <dgm:cxn modelId="{A987E52B-95B2-4CF5-8D6B-A54D043FAD14}" type="presOf" srcId="{D1F5DF30-F845-47F1-99E1-78365E11A946}" destId="{9C6EF60A-314F-44F6-ABCA-278996C670F8}" srcOrd="0" destOrd="0" presId="urn:microsoft.com/office/officeart/2005/8/layout/hList1"/>
    <dgm:cxn modelId="{675F3C63-2438-4F16-987C-6F74EE73C157}" srcId="{59A8A362-BAE7-413F-97BC-75E6D0D489E5}" destId="{320B2FA3-25DD-4826-A1D1-19E43FE36AF4}" srcOrd="1" destOrd="0" parTransId="{8E0BFE7A-5A82-4F11-83EA-1E595537F3C2}" sibTransId="{4881FCEF-265B-47FD-8CBF-78B90DE51F02}"/>
    <dgm:cxn modelId="{D772356D-D150-4837-934D-50CED1820E6B}" type="presOf" srcId="{320B2FA3-25DD-4826-A1D1-19E43FE36AF4}" destId="{855F6275-9653-4E64-953F-F03D94C52F30}" srcOrd="0" destOrd="3" presId="urn:microsoft.com/office/officeart/2005/8/layout/hList1"/>
    <dgm:cxn modelId="{2DA0E570-927D-4D2C-B1AA-9AFCF247E485}" srcId="{59A8A362-BAE7-413F-97BC-75E6D0D489E5}" destId="{EEA44D19-0814-4ECC-9A99-787ED9800FB4}" srcOrd="0" destOrd="0" parTransId="{0A29E14D-2BFC-4E4B-BA28-E1E043286C79}" sibTransId="{9B13C696-BA62-49B9-80C2-F6260626F4C4}"/>
    <dgm:cxn modelId="{5ECF9D54-C937-434D-B281-364F62131195}" type="presOf" srcId="{4587922D-D866-4F87-AF62-8B93B10EE70D}" destId="{855F6275-9653-4E64-953F-F03D94C52F30}" srcOrd="0" destOrd="2" presId="urn:microsoft.com/office/officeart/2005/8/layout/hList1"/>
    <dgm:cxn modelId="{0E61C557-6B4E-48D7-8932-0361C5C298C6}" srcId="{EEA44D19-0814-4ECC-9A99-787ED9800FB4}" destId="{623A0BF3-7621-4013-9D30-3CF7A90F9D4C}" srcOrd="0" destOrd="0" parTransId="{B1C5C23E-A5C0-4252-9130-AAC38989E99E}" sibTransId="{676FB66C-E24F-42DE-8C61-DE0B2F9A20FF}"/>
    <dgm:cxn modelId="{66B64F79-072A-4C7F-B2C4-37CAE092E167}" srcId="{EEA44D19-0814-4ECC-9A99-787ED9800FB4}" destId="{4587922D-D866-4F87-AF62-8B93B10EE70D}" srcOrd="1" destOrd="0" parTransId="{3A872830-01A9-49B0-B137-58900223AA2A}" sibTransId="{EF924B23-6E0B-4D31-8F1C-2DEBB7DE9367}"/>
    <dgm:cxn modelId="{08D6C05A-B9C7-483F-A990-D14B34B3A63B}" type="presOf" srcId="{4D5B4E4E-3CED-45A0-8974-94AEB54A8292}" destId="{CB19725E-6D59-4221-9296-0DEC0AD637EB}" srcOrd="0" destOrd="1" presId="urn:microsoft.com/office/officeart/2005/8/layout/hList1"/>
    <dgm:cxn modelId="{D7384191-7D43-476A-8539-F437E524C1F3}" type="presOf" srcId="{EEA44D19-0814-4ECC-9A99-787ED9800FB4}" destId="{855F6275-9653-4E64-953F-F03D94C52F30}" srcOrd="0" destOrd="0" presId="urn:microsoft.com/office/officeart/2005/8/layout/hList1"/>
    <dgm:cxn modelId="{7C88E3B2-BF32-4B4C-8227-B147B8E1ED4F}" type="presOf" srcId="{78313352-7F37-49F1-AF78-C2887D70FAFB}" destId="{6597FEAB-27E6-4E14-A3D2-A8255106EC1E}" srcOrd="0" destOrd="0" presId="urn:microsoft.com/office/officeart/2005/8/layout/hList1"/>
    <dgm:cxn modelId="{84E0D2C0-5340-4145-96F3-9ADD97847CED}" srcId="{D1F5DF30-F845-47F1-99E1-78365E11A946}" destId="{0495B63D-BEED-4EFE-973D-50AF0FA353A6}" srcOrd="0" destOrd="0" parTransId="{89430307-D7E7-4878-8123-BD066E89488A}" sibTransId="{896493FF-2B72-4CDB-B0BC-3A8E9E48E0AF}"/>
    <dgm:cxn modelId="{ED20F6C4-564F-4B0F-8AC2-B09CA2EC2CC9}" type="presOf" srcId="{9AF53DE5-5E43-4921-A18E-CCF86247F8FA}" destId="{855F6275-9653-4E64-953F-F03D94C52F30}" srcOrd="0" destOrd="4" presId="urn:microsoft.com/office/officeart/2005/8/layout/hList1"/>
    <dgm:cxn modelId="{920742D1-7C9F-4509-85EC-E40211DBF338}" type="presOf" srcId="{0495B63D-BEED-4EFE-973D-50AF0FA353A6}" destId="{CB19725E-6D59-4221-9296-0DEC0AD637EB}" srcOrd="0" destOrd="0" presId="urn:microsoft.com/office/officeart/2005/8/layout/hList1"/>
    <dgm:cxn modelId="{116A08EA-AE18-4AF9-8ED1-46522AEA3DFF}" srcId="{D1F5DF30-F845-47F1-99E1-78365E11A946}" destId="{4D5B4E4E-3CED-45A0-8974-94AEB54A8292}" srcOrd="1" destOrd="0" parTransId="{ADA963D6-3147-4010-B325-B8E899B35BBA}" sibTransId="{6878BB0A-FD12-4693-B5F6-D97A89C63B4E}"/>
    <dgm:cxn modelId="{332661F6-E72A-47EB-AAC3-624C362DD75F}" srcId="{78313352-7F37-49F1-AF78-C2887D70FAFB}" destId="{D1F5DF30-F845-47F1-99E1-78365E11A946}" srcOrd="1" destOrd="0" parTransId="{AEF4EA5E-CD93-4250-8C83-90F5EB0B4146}" sibTransId="{B0C07B93-5739-4E47-BC39-BFB95F340B4B}"/>
    <dgm:cxn modelId="{681CB1F6-072A-4946-AC91-1C83E71731D9}" type="presOf" srcId="{623A0BF3-7621-4013-9D30-3CF7A90F9D4C}" destId="{855F6275-9653-4E64-953F-F03D94C52F30}" srcOrd="0" destOrd="1" presId="urn:microsoft.com/office/officeart/2005/8/layout/hList1"/>
    <dgm:cxn modelId="{DF20A446-CAB6-4579-805E-63F8729B6088}" type="presParOf" srcId="{6597FEAB-27E6-4E14-A3D2-A8255106EC1E}" destId="{6758443D-BE87-438A-86DA-39ED9B42777E}" srcOrd="0" destOrd="0" presId="urn:microsoft.com/office/officeart/2005/8/layout/hList1"/>
    <dgm:cxn modelId="{B744706D-8FAC-4B1E-843E-28F73E3F29A5}" type="presParOf" srcId="{6758443D-BE87-438A-86DA-39ED9B42777E}" destId="{59019A88-07A4-43D8-88C4-9BF209DC27E5}" srcOrd="0" destOrd="0" presId="urn:microsoft.com/office/officeart/2005/8/layout/hList1"/>
    <dgm:cxn modelId="{674CB1BA-47B8-450E-B7CA-F627AFBCD2EB}" type="presParOf" srcId="{6758443D-BE87-438A-86DA-39ED9B42777E}" destId="{855F6275-9653-4E64-953F-F03D94C52F30}" srcOrd="1" destOrd="0" presId="urn:microsoft.com/office/officeart/2005/8/layout/hList1"/>
    <dgm:cxn modelId="{A4CFFE30-6187-47DF-A34C-82BB5F3A3436}" type="presParOf" srcId="{6597FEAB-27E6-4E14-A3D2-A8255106EC1E}" destId="{670A1B88-5DAA-4199-97A8-973C2AC20B32}" srcOrd="1" destOrd="0" presId="urn:microsoft.com/office/officeart/2005/8/layout/hList1"/>
    <dgm:cxn modelId="{AEA12282-10BB-47C7-A054-2AB419DFF41D}" type="presParOf" srcId="{6597FEAB-27E6-4E14-A3D2-A8255106EC1E}" destId="{CBEE5880-42A1-4A2A-B0B8-D94F07CEF0A1}" srcOrd="2" destOrd="0" presId="urn:microsoft.com/office/officeart/2005/8/layout/hList1"/>
    <dgm:cxn modelId="{12802186-D080-40FB-8104-8E86374B59CD}" type="presParOf" srcId="{CBEE5880-42A1-4A2A-B0B8-D94F07CEF0A1}" destId="{9C6EF60A-314F-44F6-ABCA-278996C670F8}" srcOrd="0" destOrd="0" presId="urn:microsoft.com/office/officeart/2005/8/layout/hList1"/>
    <dgm:cxn modelId="{3E6814D1-1007-4DCF-990E-3E57EDA065C4}" type="presParOf" srcId="{CBEE5880-42A1-4A2A-B0B8-D94F07CEF0A1}" destId="{CB19725E-6D59-4221-9296-0DEC0AD637E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8313352-7F37-49F1-AF78-C2887D70FA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9A8A362-BAE7-413F-97BC-75E6D0D489E5}">
      <dgm:prSet custT="1"/>
      <dgm:spPr/>
      <dgm:t>
        <a:bodyPr/>
        <a:lstStyle/>
        <a:p>
          <a:r>
            <a:rPr lang="en-US" sz="2000" b="1" i="1">
              <a:solidFill>
                <a:schemeClr val="bg1"/>
              </a:solidFill>
              <a:latin typeface="Calibri"/>
              <a:ea typeface="Calibri"/>
              <a:cs typeface="Calibri"/>
            </a:rPr>
            <a:t>Supporting Closely Impacted Students</a:t>
          </a:r>
          <a:endParaRPr lang="en-US" sz="2400" b="1" i="1">
            <a:solidFill>
              <a:schemeClr val="bg1"/>
            </a:solidFill>
          </a:endParaRPr>
        </a:p>
      </dgm:t>
    </dgm:pt>
    <dgm:pt modelId="{ECB8672F-B6AD-477F-8D09-7F1685EFD70D}" type="parTrans" cxnId="{89A3B10D-AC8E-4F49-8E1D-D3051FAB23F3}">
      <dgm:prSet/>
      <dgm:spPr/>
      <dgm:t>
        <a:bodyPr/>
        <a:lstStyle/>
        <a:p>
          <a:endParaRPr lang="en-US"/>
        </a:p>
      </dgm:t>
    </dgm:pt>
    <dgm:pt modelId="{F8B4CB0F-DF7D-4632-A74C-4711EA0F820F}" type="sibTrans" cxnId="{89A3B10D-AC8E-4F49-8E1D-D3051FAB23F3}">
      <dgm:prSet/>
      <dgm:spPr/>
      <dgm:t>
        <a:bodyPr/>
        <a:lstStyle/>
        <a:p>
          <a:endParaRPr lang="en-US"/>
        </a:p>
      </dgm:t>
    </dgm:pt>
    <dgm:pt modelId="{0495B63D-BEED-4EFE-973D-50AF0FA353A6}">
      <dgm:prSet custT="1"/>
      <dgm:spPr/>
      <dgm:t>
        <a:bodyPr/>
        <a:lstStyle/>
        <a:p>
          <a:r>
            <a:rPr lang="en-US" sz="2000" b="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 indirectly impacted</a:t>
          </a:r>
        </a:p>
      </dgm:t>
    </dgm:pt>
    <dgm:pt modelId="{89430307-D7E7-4878-8123-BD066E89488A}" type="parTrans" cxnId="{84E0D2C0-5340-4145-96F3-9ADD97847CED}">
      <dgm:prSet/>
      <dgm:spPr/>
      <dgm:t>
        <a:bodyPr/>
        <a:lstStyle/>
        <a:p>
          <a:endParaRPr lang="en-US"/>
        </a:p>
      </dgm:t>
    </dgm:pt>
    <dgm:pt modelId="{896493FF-2B72-4CDB-B0BC-3A8E9E48E0AF}" type="sibTrans" cxnId="{84E0D2C0-5340-4145-96F3-9ADD97847CED}">
      <dgm:prSet/>
      <dgm:spPr/>
      <dgm:t>
        <a:bodyPr/>
        <a:lstStyle/>
        <a:p>
          <a:endParaRPr lang="en-US"/>
        </a:p>
      </dgm:t>
    </dgm:pt>
    <dgm:pt modelId="{D1F5DF30-F845-47F1-99E1-78365E11A946}">
      <dgm:prSet custT="1"/>
      <dgm:spPr/>
      <dgm:t>
        <a:bodyPr/>
        <a:lstStyle/>
        <a:p>
          <a:r>
            <a:rPr lang="en-US" sz="2000" b="1" i="1">
              <a:solidFill>
                <a:schemeClr val="bg1"/>
              </a:solidFill>
              <a:latin typeface="Calibri" panose="020F0502020204030204" pitchFamily="34" charset="0"/>
              <a:ea typeface="Calibri" panose="020F0502020204030204" pitchFamily="34" charset="0"/>
              <a:cs typeface="Calibri" panose="020F0502020204030204" pitchFamily="34" charset="0"/>
            </a:rPr>
            <a:t>Community-wide Considerations</a:t>
          </a:r>
          <a:endParaRPr lang="en-US" sz="2000" b="0" i="1">
            <a:solidFill>
              <a:schemeClr val="bg1"/>
            </a:solidFill>
            <a:latin typeface="Calibri" panose="020F0502020204030204" pitchFamily="34" charset="0"/>
            <a:ea typeface="Calibri" panose="020F0502020204030204" pitchFamily="34" charset="0"/>
            <a:cs typeface="Calibri" panose="020F0502020204030204" pitchFamily="34" charset="0"/>
          </a:endParaRPr>
        </a:p>
      </dgm:t>
    </dgm:pt>
    <dgm:pt modelId="{B0C07B93-5739-4E47-BC39-BFB95F340B4B}" type="sibTrans" cxnId="{332661F6-E72A-47EB-AAC3-624C362DD75F}">
      <dgm:prSet/>
      <dgm:spPr/>
      <dgm:t>
        <a:bodyPr/>
        <a:lstStyle/>
        <a:p>
          <a:endParaRPr lang="en-US"/>
        </a:p>
      </dgm:t>
    </dgm:pt>
    <dgm:pt modelId="{AEF4EA5E-CD93-4250-8C83-90F5EB0B4146}" type="parTrans" cxnId="{332661F6-E72A-47EB-AAC3-624C362DD75F}">
      <dgm:prSet/>
      <dgm:spPr/>
      <dgm:t>
        <a:bodyPr/>
        <a:lstStyle/>
        <a:p>
          <a:endParaRPr lang="en-US"/>
        </a:p>
      </dgm:t>
    </dgm:pt>
    <dgm:pt modelId="{EEA44D19-0814-4ECC-9A99-787ED9800FB4}">
      <dgm:prSet custT="1"/>
      <dgm:spPr/>
      <dgm:t>
        <a:bodyPr/>
        <a:lstStyle/>
        <a:p>
          <a:r>
            <a:rPr lang="en-US" sz="2000" b="1">
              <a:solidFill>
                <a:srgbClr val="FF0000"/>
              </a:solidFill>
              <a:latin typeface="Calibri"/>
              <a:ea typeface="Calibri"/>
              <a:cs typeface="Calibri"/>
            </a:rPr>
            <a:t>Check in with student’s sibling(s) &amp; classmates:</a:t>
          </a:r>
          <a:r>
            <a:rPr lang="en-US" sz="2000" b="0">
              <a:solidFill>
                <a:schemeClr val="tx1"/>
              </a:solidFill>
              <a:latin typeface="Calibri"/>
              <a:ea typeface="Calibri"/>
              <a:cs typeface="Calibri"/>
            </a:rPr>
            <a:t> </a:t>
          </a:r>
        </a:p>
      </dgm:t>
    </dgm:pt>
    <dgm:pt modelId="{0A29E14D-2BFC-4E4B-BA28-E1E043286C79}" type="parTrans" cxnId="{2DA0E570-927D-4D2C-B1AA-9AFCF247E485}">
      <dgm:prSet/>
      <dgm:spPr/>
      <dgm:t>
        <a:bodyPr/>
        <a:lstStyle/>
        <a:p>
          <a:endParaRPr lang="en-US"/>
        </a:p>
      </dgm:t>
    </dgm:pt>
    <dgm:pt modelId="{9B13C696-BA62-49B9-80C2-F6260626F4C4}" type="sibTrans" cxnId="{2DA0E570-927D-4D2C-B1AA-9AFCF247E485}">
      <dgm:prSet/>
      <dgm:spPr/>
      <dgm:t>
        <a:bodyPr/>
        <a:lstStyle/>
        <a:p>
          <a:endParaRPr lang="en-US"/>
        </a:p>
      </dgm:t>
    </dgm:pt>
    <dgm:pt modelId="{623A0BF3-7621-4013-9D30-3CF7A90F9D4C}">
      <dgm:prSet custT="1"/>
      <dgm:spPr/>
      <dgm:t>
        <a:bodyPr/>
        <a:lstStyle/>
        <a:p>
          <a:r>
            <a:rPr lang="en-US" sz="2000" b="0">
              <a:solidFill>
                <a:schemeClr val="tx1"/>
              </a:solidFill>
              <a:latin typeface="Calibri"/>
              <a:ea typeface="Calibri"/>
              <a:cs typeface="Calibri"/>
            </a:rPr>
            <a:t>Offer school counseling</a:t>
          </a:r>
        </a:p>
      </dgm:t>
    </dgm:pt>
    <dgm:pt modelId="{B1C5C23E-A5C0-4252-9130-AAC38989E99E}" type="parTrans" cxnId="{0E61C557-6B4E-48D7-8932-0361C5C298C6}">
      <dgm:prSet/>
      <dgm:spPr/>
      <dgm:t>
        <a:bodyPr/>
        <a:lstStyle/>
        <a:p>
          <a:endParaRPr lang="en-US"/>
        </a:p>
      </dgm:t>
    </dgm:pt>
    <dgm:pt modelId="{676FB66C-E24F-42DE-8C61-DE0B2F9A20FF}" type="sibTrans" cxnId="{0E61C557-6B4E-48D7-8932-0361C5C298C6}">
      <dgm:prSet/>
      <dgm:spPr/>
      <dgm:t>
        <a:bodyPr/>
        <a:lstStyle/>
        <a:p>
          <a:endParaRPr lang="en-US"/>
        </a:p>
      </dgm:t>
    </dgm:pt>
    <dgm:pt modelId="{4D5B4E4E-3CED-45A0-8974-94AEB54A8292}">
      <dgm:prSet custT="1"/>
      <dgm:spPr/>
      <dgm:t>
        <a:bodyPr/>
        <a:lstStyle/>
        <a:p>
          <a:r>
            <a:rPr lang="en-US" sz="2000" b="0">
              <a:solidFill>
                <a:schemeClr val="tx1"/>
              </a:solidFill>
              <a:latin typeface="Calibri" panose="020F0502020204030204" pitchFamily="34" charset="0"/>
              <a:ea typeface="Calibri" panose="020F0502020204030204" pitchFamily="34" charset="0"/>
              <a:cs typeface="Calibri" panose="020F0502020204030204" pitchFamily="34" charset="0"/>
            </a:rPr>
            <a:t>Be prepared for possible outreach by media contacts—consider student privacy concerns</a:t>
          </a:r>
        </a:p>
      </dgm:t>
    </dgm:pt>
    <dgm:pt modelId="{ADA963D6-3147-4010-B325-B8E899B35BBA}" type="parTrans" cxnId="{116A08EA-AE18-4AF9-8ED1-46522AEA3DFF}">
      <dgm:prSet/>
      <dgm:spPr/>
      <dgm:t>
        <a:bodyPr/>
        <a:lstStyle/>
        <a:p>
          <a:endParaRPr lang="en-US"/>
        </a:p>
      </dgm:t>
    </dgm:pt>
    <dgm:pt modelId="{6878BB0A-FD12-4693-B5F6-D97A89C63B4E}" type="sibTrans" cxnId="{116A08EA-AE18-4AF9-8ED1-46522AEA3DFF}">
      <dgm:prSet/>
      <dgm:spPr/>
      <dgm:t>
        <a:bodyPr/>
        <a:lstStyle/>
        <a:p>
          <a:endParaRPr lang="en-US"/>
        </a:p>
      </dgm:t>
    </dgm:pt>
    <dgm:pt modelId="{E2C06213-564D-4509-B1F8-AE0FB0F902CC}">
      <dgm:prSet custT="1"/>
      <dgm:spPr/>
      <dgm:t>
        <a:bodyPr/>
        <a:lstStyle/>
        <a:p>
          <a:r>
            <a:rPr lang="en-US" sz="2000">
              <a:latin typeface="Calibri" panose="020F0502020204030204" pitchFamily="34" charset="0"/>
              <a:ea typeface="Calibri" panose="020F0502020204030204" pitchFamily="34" charset="0"/>
              <a:cs typeface="Calibri" panose="020F0502020204030204" pitchFamily="34" charset="0"/>
            </a:rPr>
            <a:t>Contact the AGO or ORI if your district learns of a student who was detained</a:t>
          </a:r>
          <a:endParaRPr lang="en-US" sz="2000" b="0">
            <a:solidFill>
              <a:schemeClr val="tx1"/>
            </a:solidFill>
            <a:latin typeface="Calibri" panose="020F0502020204030204" pitchFamily="34" charset="0"/>
            <a:ea typeface="Calibri" panose="020F0502020204030204" pitchFamily="34" charset="0"/>
            <a:cs typeface="Calibri" panose="020F0502020204030204" pitchFamily="34" charset="0"/>
          </a:endParaRPr>
        </a:p>
      </dgm:t>
    </dgm:pt>
    <dgm:pt modelId="{029BD3E6-2466-41B1-AFFD-9FC64A52D838}" type="parTrans" cxnId="{69014407-136F-482A-90BE-6AE50A4E1305}">
      <dgm:prSet/>
      <dgm:spPr/>
      <dgm:t>
        <a:bodyPr/>
        <a:lstStyle/>
        <a:p>
          <a:endParaRPr lang="en-US"/>
        </a:p>
      </dgm:t>
    </dgm:pt>
    <dgm:pt modelId="{7D431B99-0DEF-46B8-934B-EAC46655998D}" type="sibTrans" cxnId="{69014407-136F-482A-90BE-6AE50A4E1305}">
      <dgm:prSet/>
      <dgm:spPr/>
      <dgm:t>
        <a:bodyPr/>
        <a:lstStyle/>
        <a:p>
          <a:endParaRPr lang="en-US"/>
        </a:p>
      </dgm:t>
    </dgm:pt>
    <dgm:pt modelId="{5B98FFDC-D035-4A8E-B1E1-9E1955A16DC2}">
      <dgm:prSet custT="1"/>
      <dgm:spPr/>
      <dgm:t>
        <a:bodyPr/>
        <a:lstStyle/>
        <a:p>
          <a:r>
            <a:rPr lang="en-US" sz="2000" b="0">
              <a:solidFill>
                <a:schemeClr val="tx1"/>
              </a:solidFill>
              <a:latin typeface="Calibri"/>
              <a:ea typeface="Calibri"/>
              <a:cs typeface="Calibri"/>
            </a:rPr>
            <a:t>Provide immigration attorney referral resources</a:t>
          </a:r>
        </a:p>
      </dgm:t>
    </dgm:pt>
    <dgm:pt modelId="{051BCEAE-B6AC-4FA1-B26C-F7EC9AEBCAC4}" type="sibTrans" cxnId="{6E04EE93-4D06-409A-93F8-E31B3D0E9172}">
      <dgm:prSet/>
      <dgm:spPr/>
      <dgm:t>
        <a:bodyPr/>
        <a:lstStyle/>
        <a:p>
          <a:endParaRPr lang="en-US"/>
        </a:p>
      </dgm:t>
    </dgm:pt>
    <dgm:pt modelId="{68945738-7166-4FCA-9402-F7E86601E069}" type="parTrans" cxnId="{6E04EE93-4D06-409A-93F8-E31B3D0E9172}">
      <dgm:prSet/>
      <dgm:spPr/>
      <dgm:t>
        <a:bodyPr/>
        <a:lstStyle/>
        <a:p>
          <a:endParaRPr lang="en-US"/>
        </a:p>
      </dgm:t>
    </dgm:pt>
    <dgm:pt modelId="{B5D4FB4F-BD3B-4770-B491-57D7A65DD6CE}">
      <dgm:prSet custT="1"/>
      <dgm:spPr/>
      <dgm:t>
        <a:bodyPr/>
        <a:lstStyle/>
        <a:p>
          <a:pPr rtl="0">
            <a:buFont typeface="Arial" panose="020B0604020202020204" pitchFamily="34" charset="0"/>
            <a:buChar char="•"/>
          </a:pPr>
          <a:r>
            <a:rPr lang="en-US" sz="2000">
              <a:latin typeface="Calibri"/>
              <a:ea typeface="Calibri"/>
              <a:cs typeface="Calibri"/>
            </a:rPr>
            <a:t>For those wishing to hold community events for assisting families left behind, email: </a:t>
          </a:r>
          <a:r>
            <a:rPr lang="en-US" sz="2000" b="0" u="none">
              <a:hlinkClick xmlns:r="http://schemas.openxmlformats.org/officeDocument/2006/relationships" r:id="rId1"/>
            </a:rPr>
            <a:t>Request a Community Meeting with ORI</a:t>
          </a:r>
          <a:endParaRPr lang="en-US" sz="2000" b="0" u="sng">
            <a:solidFill>
              <a:schemeClr val="tx1"/>
            </a:solidFill>
            <a:latin typeface="Calibri"/>
            <a:ea typeface="Calibri"/>
            <a:cs typeface="Calibri"/>
          </a:endParaRPr>
        </a:p>
      </dgm:t>
    </dgm:pt>
    <dgm:pt modelId="{F3407A41-50E6-4B0D-BF67-95E44B9BC4B4}" type="parTrans" cxnId="{5BE68C56-9134-4C43-A720-1A558D2292B9}">
      <dgm:prSet/>
      <dgm:spPr/>
      <dgm:t>
        <a:bodyPr/>
        <a:lstStyle/>
        <a:p>
          <a:endParaRPr lang="en-US"/>
        </a:p>
      </dgm:t>
    </dgm:pt>
    <dgm:pt modelId="{3ADE5979-F07D-49BA-BEEA-BD63D4CBAE53}" type="sibTrans" cxnId="{5BE68C56-9134-4C43-A720-1A558D2292B9}">
      <dgm:prSet/>
      <dgm:spPr/>
      <dgm:t>
        <a:bodyPr/>
        <a:lstStyle/>
        <a:p>
          <a:endParaRPr lang="en-US"/>
        </a:p>
      </dgm:t>
    </dgm:pt>
    <dgm:pt modelId="{8A29F272-9260-4638-9490-C715E352407B}">
      <dgm:prSet custT="1"/>
      <dgm:spPr/>
      <dgm:t>
        <a:bodyPr/>
        <a:lstStyle/>
        <a:p>
          <a:r>
            <a:rPr lang="en-US" sz="2000" b="0">
              <a:solidFill>
                <a:schemeClr val="tx1"/>
              </a:solidFill>
              <a:latin typeface="Calibri" panose="020F0502020204030204" pitchFamily="34" charset="0"/>
              <a:ea typeface="Calibri" panose="020F0502020204030204" pitchFamily="34" charset="0"/>
              <a:cs typeface="Calibri" panose="020F0502020204030204" pitchFamily="34" charset="0"/>
            </a:rPr>
            <a:t>School staff should alert school and district leadership</a:t>
          </a:r>
          <a:endParaRPr lang="en-US" sz="2000" b="0">
            <a:solidFill>
              <a:schemeClr val="tx1"/>
            </a:solidFill>
            <a:latin typeface="Calibri"/>
            <a:ea typeface="Calibri"/>
            <a:cs typeface="Calibri"/>
          </a:endParaRPr>
        </a:p>
      </dgm:t>
    </dgm:pt>
    <dgm:pt modelId="{251E9856-9171-4DAB-9DED-DA7B2E40A9C6}" type="parTrans" cxnId="{E27CEEDF-A122-498E-848B-3933D83BDFE6}">
      <dgm:prSet/>
      <dgm:spPr/>
      <dgm:t>
        <a:bodyPr/>
        <a:lstStyle/>
        <a:p>
          <a:endParaRPr lang="en-US"/>
        </a:p>
      </dgm:t>
    </dgm:pt>
    <dgm:pt modelId="{FE3E6B12-77D1-4F44-8801-F44C4A1E212F}" type="sibTrans" cxnId="{E27CEEDF-A122-498E-848B-3933D83BDFE6}">
      <dgm:prSet/>
      <dgm:spPr/>
      <dgm:t>
        <a:bodyPr/>
        <a:lstStyle/>
        <a:p>
          <a:endParaRPr lang="en-US"/>
        </a:p>
      </dgm:t>
    </dgm:pt>
    <dgm:pt modelId="{7A998B8C-8048-40AF-8824-083581051919}">
      <dgm:prSet custT="1"/>
      <dgm:spPr/>
      <dgm:t>
        <a:bodyPr/>
        <a:lstStyle/>
        <a:p>
          <a:r>
            <a:rPr lang="en-US" sz="2000" b="0">
              <a:solidFill>
                <a:schemeClr val="tx1"/>
              </a:solidFill>
              <a:latin typeface="Calibri"/>
              <a:ea typeface="Calibri"/>
              <a:cs typeface="Calibri"/>
            </a:rPr>
            <a:t>Refer to additional mental health services as appropriate</a:t>
          </a:r>
        </a:p>
      </dgm:t>
    </dgm:pt>
    <dgm:pt modelId="{1105C2D0-47E1-405D-8042-DC83CDEA2ECF}" type="parTrans" cxnId="{2E0C16A4-12E3-49BE-AF2B-981355F2ACD1}">
      <dgm:prSet/>
      <dgm:spPr/>
      <dgm:t>
        <a:bodyPr/>
        <a:lstStyle/>
        <a:p>
          <a:endParaRPr lang="en-US"/>
        </a:p>
      </dgm:t>
    </dgm:pt>
    <dgm:pt modelId="{F3AD5A2A-292E-43F8-A646-C7FB83F348BA}" type="sibTrans" cxnId="{2E0C16A4-12E3-49BE-AF2B-981355F2ACD1}">
      <dgm:prSet/>
      <dgm:spPr/>
      <dgm:t>
        <a:bodyPr/>
        <a:lstStyle/>
        <a:p>
          <a:endParaRPr lang="en-US"/>
        </a:p>
      </dgm:t>
    </dgm:pt>
    <dgm:pt modelId="{C265931E-82B6-4223-B806-3CB6C1E0FD87}">
      <dgm:prSet custT="1"/>
      <dgm:spPr/>
      <dgm:t>
        <a:bodyPr/>
        <a:lstStyle/>
        <a:p>
          <a:r>
            <a:rPr lang="en-US" sz="2000" b="1">
              <a:solidFill>
                <a:srgbClr val="FF0000"/>
              </a:solidFill>
              <a:latin typeface="Calibri"/>
              <a:ea typeface="Calibri"/>
              <a:cs typeface="Calibri"/>
            </a:rPr>
            <a:t>Check in with family/caregiver</a:t>
          </a:r>
        </a:p>
      </dgm:t>
    </dgm:pt>
    <dgm:pt modelId="{682DEA72-101A-458A-9AFD-E2F33913972D}" type="parTrans" cxnId="{A702CF84-DC74-4C99-945A-B5B08E678E7B}">
      <dgm:prSet/>
      <dgm:spPr/>
      <dgm:t>
        <a:bodyPr/>
        <a:lstStyle/>
        <a:p>
          <a:endParaRPr lang="en-US"/>
        </a:p>
      </dgm:t>
    </dgm:pt>
    <dgm:pt modelId="{90007D04-48AA-41F3-A3BD-8AD75D734FF8}" type="sibTrans" cxnId="{A702CF84-DC74-4C99-945A-B5B08E678E7B}">
      <dgm:prSet/>
      <dgm:spPr/>
      <dgm:t>
        <a:bodyPr/>
        <a:lstStyle/>
        <a:p>
          <a:endParaRPr lang="en-US"/>
        </a:p>
      </dgm:t>
    </dgm:pt>
    <dgm:pt modelId="{6597FEAB-27E6-4E14-A3D2-A8255106EC1E}" type="pres">
      <dgm:prSet presAssocID="{78313352-7F37-49F1-AF78-C2887D70FAFB}" presName="Name0" presStyleCnt="0">
        <dgm:presLayoutVars>
          <dgm:dir/>
          <dgm:animLvl val="lvl"/>
          <dgm:resizeHandles val="exact"/>
        </dgm:presLayoutVars>
      </dgm:prSet>
      <dgm:spPr/>
    </dgm:pt>
    <dgm:pt modelId="{6758443D-BE87-438A-86DA-39ED9B42777E}" type="pres">
      <dgm:prSet presAssocID="{59A8A362-BAE7-413F-97BC-75E6D0D489E5}" presName="composite" presStyleCnt="0"/>
      <dgm:spPr/>
    </dgm:pt>
    <dgm:pt modelId="{59019A88-07A4-43D8-88C4-9BF209DC27E5}" type="pres">
      <dgm:prSet presAssocID="{59A8A362-BAE7-413F-97BC-75E6D0D489E5}" presName="parTx" presStyleLbl="alignNode1" presStyleIdx="0" presStyleCnt="2" custScaleY="86719" custLinFactNeighborX="-1" custLinFactNeighborY="-65630">
        <dgm:presLayoutVars>
          <dgm:chMax val="0"/>
          <dgm:chPref val="0"/>
          <dgm:bulletEnabled val="1"/>
        </dgm:presLayoutVars>
      </dgm:prSet>
      <dgm:spPr/>
    </dgm:pt>
    <dgm:pt modelId="{855F6275-9653-4E64-953F-F03D94C52F30}" type="pres">
      <dgm:prSet presAssocID="{59A8A362-BAE7-413F-97BC-75E6D0D489E5}" presName="desTx" presStyleLbl="alignAccFollowNode1" presStyleIdx="0" presStyleCnt="2" custScaleY="100000">
        <dgm:presLayoutVars>
          <dgm:bulletEnabled val="1"/>
        </dgm:presLayoutVars>
      </dgm:prSet>
      <dgm:spPr/>
    </dgm:pt>
    <dgm:pt modelId="{670A1B88-5DAA-4199-97A8-973C2AC20B32}" type="pres">
      <dgm:prSet presAssocID="{F8B4CB0F-DF7D-4632-A74C-4711EA0F820F}" presName="space" presStyleCnt="0"/>
      <dgm:spPr/>
    </dgm:pt>
    <dgm:pt modelId="{CBEE5880-42A1-4A2A-B0B8-D94F07CEF0A1}" type="pres">
      <dgm:prSet presAssocID="{D1F5DF30-F845-47F1-99E1-78365E11A946}" presName="composite" presStyleCnt="0"/>
      <dgm:spPr/>
    </dgm:pt>
    <dgm:pt modelId="{9C6EF60A-314F-44F6-ABCA-278996C670F8}" type="pres">
      <dgm:prSet presAssocID="{D1F5DF30-F845-47F1-99E1-78365E11A946}" presName="parTx" presStyleLbl="alignNode1" presStyleIdx="1" presStyleCnt="2" custScaleY="88467" custLinFactNeighborX="1" custLinFactNeighborY="-48934">
        <dgm:presLayoutVars>
          <dgm:chMax val="0"/>
          <dgm:chPref val="0"/>
          <dgm:bulletEnabled val="1"/>
        </dgm:presLayoutVars>
      </dgm:prSet>
      <dgm:spPr/>
    </dgm:pt>
    <dgm:pt modelId="{CB19725E-6D59-4221-9296-0DEC0AD637EB}" type="pres">
      <dgm:prSet presAssocID="{D1F5DF30-F845-47F1-99E1-78365E11A946}" presName="desTx" presStyleLbl="alignAccFollowNode1" presStyleIdx="1" presStyleCnt="2">
        <dgm:presLayoutVars>
          <dgm:bulletEnabled val="1"/>
        </dgm:presLayoutVars>
      </dgm:prSet>
      <dgm:spPr/>
    </dgm:pt>
  </dgm:ptLst>
  <dgm:cxnLst>
    <dgm:cxn modelId="{69014407-136F-482A-90BE-6AE50A4E1305}" srcId="{D1F5DF30-F845-47F1-99E1-78365E11A946}" destId="{E2C06213-564D-4509-B1F8-AE0FB0F902CC}" srcOrd="2" destOrd="0" parTransId="{029BD3E6-2466-41B1-AFFD-9FC64A52D838}" sibTransId="{7D431B99-0DEF-46B8-934B-EAC46655998D}"/>
    <dgm:cxn modelId="{5CCAC107-AAA7-4CA4-8044-F5F08CC105E9}" type="presOf" srcId="{59A8A362-BAE7-413F-97BC-75E6D0D489E5}" destId="{59019A88-07A4-43D8-88C4-9BF209DC27E5}" srcOrd="0" destOrd="0" presId="urn:microsoft.com/office/officeart/2005/8/layout/hList1"/>
    <dgm:cxn modelId="{89A3B10D-AC8E-4F49-8E1D-D3051FAB23F3}" srcId="{78313352-7F37-49F1-AF78-C2887D70FAFB}" destId="{59A8A362-BAE7-413F-97BC-75E6D0D489E5}" srcOrd="0" destOrd="0" parTransId="{ECB8672F-B6AD-477F-8D09-7F1685EFD70D}" sibTransId="{F8B4CB0F-DF7D-4632-A74C-4711EA0F820F}"/>
    <dgm:cxn modelId="{A987E52B-95B2-4CF5-8D6B-A54D043FAD14}" type="presOf" srcId="{D1F5DF30-F845-47F1-99E1-78365E11A946}" destId="{9C6EF60A-314F-44F6-ABCA-278996C670F8}" srcOrd="0" destOrd="0" presId="urn:microsoft.com/office/officeart/2005/8/layout/hList1"/>
    <dgm:cxn modelId="{2DA0E570-927D-4D2C-B1AA-9AFCF247E485}" srcId="{59A8A362-BAE7-413F-97BC-75E6D0D489E5}" destId="{EEA44D19-0814-4ECC-9A99-787ED9800FB4}" srcOrd="0" destOrd="0" parTransId="{0A29E14D-2BFC-4E4B-BA28-E1E043286C79}" sibTransId="{9B13C696-BA62-49B9-80C2-F6260626F4C4}"/>
    <dgm:cxn modelId="{5BE68C56-9134-4C43-A720-1A558D2292B9}" srcId="{D1F5DF30-F845-47F1-99E1-78365E11A946}" destId="{B5D4FB4F-BD3B-4770-B491-57D7A65DD6CE}" srcOrd="3" destOrd="0" parTransId="{F3407A41-50E6-4B0D-BF67-95E44B9BC4B4}" sibTransId="{3ADE5979-F07D-49BA-BEEA-BD63D4CBAE53}"/>
    <dgm:cxn modelId="{0E61C557-6B4E-48D7-8932-0361C5C298C6}" srcId="{EEA44D19-0814-4ECC-9A99-787ED9800FB4}" destId="{623A0BF3-7621-4013-9D30-3CF7A90F9D4C}" srcOrd="0" destOrd="0" parTransId="{B1C5C23E-A5C0-4252-9130-AAC38989E99E}" sibTransId="{676FB66C-E24F-42DE-8C61-DE0B2F9A20FF}"/>
    <dgm:cxn modelId="{08D6C05A-B9C7-483F-A990-D14B34B3A63B}" type="presOf" srcId="{4D5B4E4E-3CED-45A0-8974-94AEB54A8292}" destId="{CB19725E-6D59-4221-9296-0DEC0AD637EB}" srcOrd="0" destOrd="1" presId="urn:microsoft.com/office/officeart/2005/8/layout/hList1"/>
    <dgm:cxn modelId="{9D158D7F-7DCF-4411-9198-77C7E2DB4393}" type="presOf" srcId="{5B98FFDC-D035-4A8E-B1E1-9E1955A16DC2}" destId="{855F6275-9653-4E64-953F-F03D94C52F30}" srcOrd="0" destOrd="4" presId="urn:microsoft.com/office/officeart/2005/8/layout/hList1"/>
    <dgm:cxn modelId="{A702CF84-DC74-4C99-945A-B5B08E678E7B}" srcId="{59A8A362-BAE7-413F-97BC-75E6D0D489E5}" destId="{C265931E-82B6-4223-B806-3CB6C1E0FD87}" srcOrd="1" destOrd="0" parTransId="{682DEA72-101A-458A-9AFD-E2F33913972D}" sibTransId="{90007D04-48AA-41F3-A3BD-8AD75D734FF8}"/>
    <dgm:cxn modelId="{D7384191-7D43-476A-8539-F437E524C1F3}" type="presOf" srcId="{EEA44D19-0814-4ECC-9A99-787ED9800FB4}" destId="{855F6275-9653-4E64-953F-F03D94C52F30}" srcOrd="0" destOrd="0" presId="urn:microsoft.com/office/officeart/2005/8/layout/hList1"/>
    <dgm:cxn modelId="{6E04EE93-4D06-409A-93F8-E31B3D0E9172}" srcId="{C265931E-82B6-4223-B806-3CB6C1E0FD87}" destId="{5B98FFDC-D035-4A8E-B1E1-9E1955A16DC2}" srcOrd="0" destOrd="0" parTransId="{68945738-7166-4FCA-9402-F7E86601E069}" sibTransId="{051BCEAE-B6AC-4FA1-B26C-F7EC9AEBCAC4}"/>
    <dgm:cxn modelId="{7F446594-56DA-4200-83CA-4AE679F9F447}" type="presOf" srcId="{E2C06213-564D-4509-B1F8-AE0FB0F902CC}" destId="{CB19725E-6D59-4221-9296-0DEC0AD637EB}" srcOrd="0" destOrd="2" presId="urn:microsoft.com/office/officeart/2005/8/layout/hList1"/>
    <dgm:cxn modelId="{87DA72A3-B33B-4990-9382-23BD53D4A119}" type="presOf" srcId="{B5D4FB4F-BD3B-4770-B491-57D7A65DD6CE}" destId="{CB19725E-6D59-4221-9296-0DEC0AD637EB}" srcOrd="0" destOrd="3" presId="urn:microsoft.com/office/officeart/2005/8/layout/hList1"/>
    <dgm:cxn modelId="{2E0C16A4-12E3-49BE-AF2B-981355F2ACD1}" srcId="{EEA44D19-0814-4ECC-9A99-787ED9800FB4}" destId="{7A998B8C-8048-40AF-8824-083581051919}" srcOrd="1" destOrd="0" parTransId="{1105C2D0-47E1-405D-8042-DC83CDEA2ECF}" sibTransId="{F3AD5A2A-292E-43F8-A646-C7FB83F348BA}"/>
    <dgm:cxn modelId="{7C88E3B2-BF32-4B4C-8227-B147B8E1ED4F}" type="presOf" srcId="{78313352-7F37-49F1-AF78-C2887D70FAFB}" destId="{6597FEAB-27E6-4E14-A3D2-A8255106EC1E}" srcOrd="0" destOrd="0" presId="urn:microsoft.com/office/officeart/2005/8/layout/hList1"/>
    <dgm:cxn modelId="{F79EC1BF-069C-4938-8E5A-50B97D115BA3}" type="presOf" srcId="{8A29F272-9260-4638-9490-C715E352407B}" destId="{855F6275-9653-4E64-953F-F03D94C52F30}" srcOrd="0" destOrd="5" presId="urn:microsoft.com/office/officeart/2005/8/layout/hList1"/>
    <dgm:cxn modelId="{84E0D2C0-5340-4145-96F3-9ADD97847CED}" srcId="{D1F5DF30-F845-47F1-99E1-78365E11A946}" destId="{0495B63D-BEED-4EFE-973D-50AF0FA353A6}" srcOrd="0" destOrd="0" parTransId="{89430307-D7E7-4878-8123-BD066E89488A}" sibTransId="{896493FF-2B72-4CDB-B0BC-3A8E9E48E0AF}"/>
    <dgm:cxn modelId="{920742D1-7C9F-4509-85EC-E40211DBF338}" type="presOf" srcId="{0495B63D-BEED-4EFE-973D-50AF0FA353A6}" destId="{CB19725E-6D59-4221-9296-0DEC0AD637EB}" srcOrd="0" destOrd="0" presId="urn:microsoft.com/office/officeart/2005/8/layout/hList1"/>
    <dgm:cxn modelId="{E27CEEDF-A122-498E-848B-3933D83BDFE6}" srcId="{59A8A362-BAE7-413F-97BC-75E6D0D489E5}" destId="{8A29F272-9260-4638-9490-C715E352407B}" srcOrd="2" destOrd="0" parTransId="{251E9856-9171-4DAB-9DED-DA7B2E40A9C6}" sibTransId="{FE3E6B12-77D1-4F44-8801-F44C4A1E212F}"/>
    <dgm:cxn modelId="{F8628AE6-6D37-489A-823B-2F941C380A42}" type="presOf" srcId="{C265931E-82B6-4223-B806-3CB6C1E0FD87}" destId="{855F6275-9653-4E64-953F-F03D94C52F30}" srcOrd="0" destOrd="3" presId="urn:microsoft.com/office/officeart/2005/8/layout/hList1"/>
    <dgm:cxn modelId="{6F785EE8-950B-4BEB-ADB3-05F83D47755F}" type="presOf" srcId="{7A998B8C-8048-40AF-8824-083581051919}" destId="{855F6275-9653-4E64-953F-F03D94C52F30}" srcOrd="0" destOrd="2" presId="urn:microsoft.com/office/officeart/2005/8/layout/hList1"/>
    <dgm:cxn modelId="{116A08EA-AE18-4AF9-8ED1-46522AEA3DFF}" srcId="{D1F5DF30-F845-47F1-99E1-78365E11A946}" destId="{4D5B4E4E-3CED-45A0-8974-94AEB54A8292}" srcOrd="1" destOrd="0" parTransId="{ADA963D6-3147-4010-B325-B8E899B35BBA}" sibTransId="{6878BB0A-FD12-4693-B5F6-D97A89C63B4E}"/>
    <dgm:cxn modelId="{332661F6-E72A-47EB-AAC3-624C362DD75F}" srcId="{78313352-7F37-49F1-AF78-C2887D70FAFB}" destId="{D1F5DF30-F845-47F1-99E1-78365E11A946}" srcOrd="1" destOrd="0" parTransId="{AEF4EA5E-CD93-4250-8C83-90F5EB0B4146}" sibTransId="{B0C07B93-5739-4E47-BC39-BFB95F340B4B}"/>
    <dgm:cxn modelId="{681CB1F6-072A-4946-AC91-1C83E71731D9}" type="presOf" srcId="{623A0BF3-7621-4013-9D30-3CF7A90F9D4C}" destId="{855F6275-9653-4E64-953F-F03D94C52F30}" srcOrd="0" destOrd="1" presId="urn:microsoft.com/office/officeart/2005/8/layout/hList1"/>
    <dgm:cxn modelId="{DF20A446-CAB6-4579-805E-63F8729B6088}" type="presParOf" srcId="{6597FEAB-27E6-4E14-A3D2-A8255106EC1E}" destId="{6758443D-BE87-438A-86DA-39ED9B42777E}" srcOrd="0" destOrd="0" presId="urn:microsoft.com/office/officeart/2005/8/layout/hList1"/>
    <dgm:cxn modelId="{B744706D-8FAC-4B1E-843E-28F73E3F29A5}" type="presParOf" srcId="{6758443D-BE87-438A-86DA-39ED9B42777E}" destId="{59019A88-07A4-43D8-88C4-9BF209DC27E5}" srcOrd="0" destOrd="0" presId="urn:microsoft.com/office/officeart/2005/8/layout/hList1"/>
    <dgm:cxn modelId="{674CB1BA-47B8-450E-B7CA-F627AFBCD2EB}" type="presParOf" srcId="{6758443D-BE87-438A-86DA-39ED9B42777E}" destId="{855F6275-9653-4E64-953F-F03D94C52F30}" srcOrd="1" destOrd="0" presId="urn:microsoft.com/office/officeart/2005/8/layout/hList1"/>
    <dgm:cxn modelId="{A4CFFE30-6187-47DF-A34C-82BB5F3A3436}" type="presParOf" srcId="{6597FEAB-27E6-4E14-A3D2-A8255106EC1E}" destId="{670A1B88-5DAA-4199-97A8-973C2AC20B32}" srcOrd="1" destOrd="0" presId="urn:microsoft.com/office/officeart/2005/8/layout/hList1"/>
    <dgm:cxn modelId="{AEA12282-10BB-47C7-A054-2AB419DFF41D}" type="presParOf" srcId="{6597FEAB-27E6-4E14-A3D2-A8255106EC1E}" destId="{CBEE5880-42A1-4A2A-B0B8-D94F07CEF0A1}" srcOrd="2" destOrd="0" presId="urn:microsoft.com/office/officeart/2005/8/layout/hList1"/>
    <dgm:cxn modelId="{12802186-D080-40FB-8104-8E86374B59CD}" type="presParOf" srcId="{CBEE5880-42A1-4A2A-B0B8-D94F07CEF0A1}" destId="{9C6EF60A-314F-44F6-ABCA-278996C670F8}" srcOrd="0" destOrd="0" presId="urn:microsoft.com/office/officeart/2005/8/layout/hList1"/>
    <dgm:cxn modelId="{3E6814D1-1007-4DCF-990E-3E57EDA065C4}" type="presParOf" srcId="{CBEE5880-42A1-4A2A-B0B8-D94F07CEF0A1}" destId="{CB19725E-6D59-4221-9296-0DEC0AD637E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70C5B-C07F-494A-8AB6-DE347B2DD857}">
      <dsp:nvSpPr>
        <dsp:cNvPr id="0" name=""/>
        <dsp:cNvSpPr/>
      </dsp:nvSpPr>
      <dsp:spPr>
        <a:xfrm>
          <a:off x="804" y="471623"/>
          <a:ext cx="2478727" cy="3914503"/>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800100">
            <a:lnSpc>
              <a:spcPct val="90000"/>
            </a:lnSpc>
            <a:spcBef>
              <a:spcPct val="0"/>
            </a:spcBef>
            <a:spcAft>
              <a:spcPct val="35000"/>
            </a:spcAft>
            <a:buNone/>
          </a:pPr>
          <a:r>
            <a:rPr lang="en-US" sz="1800" kern="1200"/>
            <a:t>ICE is a federal law enforcement agency</a:t>
          </a:r>
        </a:p>
      </dsp:txBody>
      <dsp:txXfrm>
        <a:off x="804" y="471623"/>
        <a:ext cx="2478727" cy="3914503"/>
      </dsp:txXfrm>
    </dsp:sp>
    <dsp:sp modelId="{C50C822B-C998-4BD9-93AF-781C0C535479}">
      <dsp:nvSpPr>
        <dsp:cNvPr id="0" name=""/>
        <dsp:cNvSpPr/>
      </dsp:nvSpPr>
      <dsp:spPr>
        <a:xfrm>
          <a:off x="2552384" y="2307375"/>
          <a:ext cx="366878" cy="243000"/>
        </a:xfrm>
        <a:prstGeom prst="rightArrow">
          <a:avLst>
            <a:gd name="adj1" fmla="val 50000"/>
            <a:gd name="adj2" fmla="val 50000"/>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C016C784-A17F-4AF3-9B53-605821B4F6E9}">
      <dsp:nvSpPr>
        <dsp:cNvPr id="0" name=""/>
        <dsp:cNvSpPr/>
      </dsp:nvSpPr>
      <dsp:spPr>
        <a:xfrm>
          <a:off x="2992115" y="512992"/>
          <a:ext cx="2445855" cy="3831765"/>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800100">
            <a:lnSpc>
              <a:spcPct val="90000"/>
            </a:lnSpc>
            <a:spcBef>
              <a:spcPct val="0"/>
            </a:spcBef>
            <a:spcAft>
              <a:spcPct val="35000"/>
            </a:spcAft>
            <a:buNone/>
          </a:pPr>
          <a:r>
            <a:rPr lang="en-US" sz="1800" kern="1200"/>
            <a:t>ICE’s authority is generally limited to immigration related enforcement, unless acting in concert with federal or state law enforcement, or investigating crimes through ICE criminal investigative units</a:t>
          </a:r>
        </a:p>
        <a:p>
          <a:pPr marL="0" lvl="0" indent="0" algn="ctr" defTabSz="800100">
            <a:lnSpc>
              <a:spcPct val="90000"/>
            </a:lnSpc>
            <a:spcBef>
              <a:spcPct val="0"/>
            </a:spcBef>
            <a:spcAft>
              <a:spcPct val="35000"/>
            </a:spcAft>
            <a:buNone/>
          </a:pPr>
          <a:endParaRPr lang="en-US" sz="1800" kern="1200"/>
        </a:p>
      </dsp:txBody>
      <dsp:txXfrm>
        <a:off x="2992115" y="512992"/>
        <a:ext cx="2445855" cy="383176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2D6F-4192-442E-B151-37D2A07020EC}">
      <dsp:nvSpPr>
        <dsp:cNvPr id="0" name=""/>
        <dsp:cNvSpPr/>
      </dsp:nvSpPr>
      <dsp:spPr>
        <a:xfrm>
          <a:off x="0" y="9521"/>
          <a:ext cx="11180065" cy="631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rtl="0">
            <a:lnSpc>
              <a:spcPct val="90000"/>
            </a:lnSpc>
            <a:spcBef>
              <a:spcPct val="0"/>
            </a:spcBef>
            <a:spcAft>
              <a:spcPct val="35000"/>
            </a:spcAft>
            <a:buNone/>
          </a:pPr>
          <a:r>
            <a:rPr lang="en-US" sz="2700" kern="1200"/>
            <a:t>MA AGO’s Children’s Justice Unit</a:t>
          </a:r>
          <a:r>
            <a:rPr lang="en-US" sz="2700" kern="1200">
              <a:latin typeface="Arial"/>
            </a:rPr>
            <a:t> – liza.hirsch@mass.gov</a:t>
          </a:r>
          <a:endParaRPr lang="en-US" sz="2700" kern="1200"/>
        </a:p>
      </dsp:txBody>
      <dsp:txXfrm>
        <a:off x="30842" y="40363"/>
        <a:ext cx="11118381" cy="570116"/>
      </dsp:txXfrm>
    </dsp:sp>
    <dsp:sp modelId="{A2819BA5-2D35-484C-B0F0-42A574916988}">
      <dsp:nvSpPr>
        <dsp:cNvPr id="0" name=""/>
        <dsp:cNvSpPr/>
      </dsp:nvSpPr>
      <dsp:spPr>
        <a:xfrm>
          <a:off x="0" y="641321"/>
          <a:ext cx="11180065" cy="684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96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Immigration enforcement in or around schools</a:t>
          </a:r>
        </a:p>
        <a:p>
          <a:pPr marL="228600" lvl="1" indent="-228600" algn="l" defTabSz="933450">
            <a:lnSpc>
              <a:spcPct val="90000"/>
            </a:lnSpc>
            <a:spcBef>
              <a:spcPct val="0"/>
            </a:spcBef>
            <a:spcAft>
              <a:spcPct val="20000"/>
            </a:spcAft>
            <a:buChar char="•"/>
          </a:pPr>
          <a:r>
            <a:rPr lang="en-US" sz="2100" kern="1200"/>
            <a:t>Detention of young person under the age of 19</a:t>
          </a:r>
        </a:p>
      </dsp:txBody>
      <dsp:txXfrm>
        <a:off x="0" y="641321"/>
        <a:ext cx="11180065" cy="684652"/>
      </dsp:txXfrm>
    </dsp:sp>
    <dsp:sp modelId="{03378D47-CAA2-4EEA-9F00-431192EEE9DD}">
      <dsp:nvSpPr>
        <dsp:cNvPr id="0" name=""/>
        <dsp:cNvSpPr/>
      </dsp:nvSpPr>
      <dsp:spPr>
        <a:xfrm>
          <a:off x="0" y="1325973"/>
          <a:ext cx="11180065" cy="631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rtl="0">
            <a:lnSpc>
              <a:spcPct val="90000"/>
            </a:lnSpc>
            <a:spcBef>
              <a:spcPct val="0"/>
            </a:spcBef>
            <a:spcAft>
              <a:spcPct val="35000"/>
            </a:spcAft>
            <a:buNone/>
          </a:pPr>
          <a:r>
            <a:rPr lang="en-US" sz="2700" kern="1200"/>
            <a:t>ORI</a:t>
          </a:r>
          <a:r>
            <a:rPr lang="en-US" sz="2700" kern="1200">
              <a:latin typeface="Arial"/>
            </a:rPr>
            <a:t> – susan.church@mass.gov</a:t>
          </a:r>
          <a:endParaRPr lang="en-US" sz="2700" kern="1200"/>
        </a:p>
      </dsp:txBody>
      <dsp:txXfrm>
        <a:off x="30842" y="1356815"/>
        <a:ext cx="11118381" cy="570116"/>
      </dsp:txXfrm>
    </dsp:sp>
    <dsp:sp modelId="{1BBC16FC-7259-48C1-B21F-15C33D9425CF}">
      <dsp:nvSpPr>
        <dsp:cNvPr id="0" name=""/>
        <dsp:cNvSpPr/>
      </dsp:nvSpPr>
      <dsp:spPr>
        <a:xfrm>
          <a:off x="0" y="1957773"/>
          <a:ext cx="11180065" cy="31857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96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Immigration enforcement in or around EA shelters, schools, places of worship, or other sensitive locations
Detention of a parent/caregiver for a child with significant disabilities
Detention of a parent/caregiver for a child who is currently undergoing medical treatment for a serious medical condition (such as cancer)
Detention of a teenager, younger person, student
Detention of individual with no criminal record, United States Citizen children and significant long term US residence (more than 15 years approximately)
Other cases where a significant humanitarian concern is presented, including larger scale workplace raids or immigration enforcement events </a:t>
          </a:r>
        </a:p>
      </dsp:txBody>
      <dsp:txXfrm>
        <a:off x="0" y="1957773"/>
        <a:ext cx="11180065" cy="31857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D6E35A-DD82-4B45-81A9-80ACE1A02143}">
      <dsp:nvSpPr>
        <dsp:cNvPr id="0" name=""/>
        <dsp:cNvSpPr/>
      </dsp:nvSpPr>
      <dsp:spPr>
        <a:xfrm>
          <a:off x="51" y="157628"/>
          <a:ext cx="4913783"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b="1" i="1" kern="1200"/>
            <a:t>ICE can demand identification:</a:t>
          </a:r>
          <a:endParaRPr lang="en-US" sz="2100" kern="1200"/>
        </a:p>
      </dsp:txBody>
      <dsp:txXfrm>
        <a:off x="51" y="157628"/>
        <a:ext cx="4913783" cy="604800"/>
      </dsp:txXfrm>
    </dsp:sp>
    <dsp:sp modelId="{80D9EE47-E1BA-4623-99E0-21A122EB8B19}">
      <dsp:nvSpPr>
        <dsp:cNvPr id="0" name=""/>
        <dsp:cNvSpPr/>
      </dsp:nvSpPr>
      <dsp:spPr>
        <a:xfrm>
          <a:off x="51" y="762428"/>
          <a:ext cx="4913783" cy="396309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Immigrants often must carry identification on them, including copies of a green card and/or proof of registration.</a:t>
          </a:r>
        </a:p>
        <a:p>
          <a:pPr marL="228600" lvl="1" indent="-228600" algn="l" defTabSz="933450">
            <a:lnSpc>
              <a:spcPct val="90000"/>
            </a:lnSpc>
            <a:spcBef>
              <a:spcPct val="0"/>
            </a:spcBef>
            <a:spcAft>
              <a:spcPct val="15000"/>
            </a:spcAft>
            <a:buChar char="•"/>
          </a:pPr>
          <a:endParaRPr lang="en-US" sz="2100" kern="1200"/>
        </a:p>
        <a:p>
          <a:pPr marL="228600" lvl="1" indent="-228600" algn="l" defTabSz="933450">
            <a:lnSpc>
              <a:spcPct val="90000"/>
            </a:lnSpc>
            <a:spcBef>
              <a:spcPct val="0"/>
            </a:spcBef>
            <a:spcAft>
              <a:spcPct val="15000"/>
            </a:spcAft>
            <a:buChar char="•"/>
          </a:pPr>
          <a:r>
            <a:rPr lang="en-US" sz="2100" kern="1200"/>
            <a:t>Depending on the facts and circumstances, ICE officers, when they have probable cause to believe a person is here unlawfully, can ask for identification. </a:t>
          </a:r>
        </a:p>
      </dsp:txBody>
      <dsp:txXfrm>
        <a:off x="51" y="762428"/>
        <a:ext cx="4913783" cy="3963093"/>
      </dsp:txXfrm>
    </dsp:sp>
    <dsp:sp modelId="{59019A88-07A4-43D8-88C4-9BF209DC27E5}">
      <dsp:nvSpPr>
        <dsp:cNvPr id="0" name=""/>
        <dsp:cNvSpPr/>
      </dsp:nvSpPr>
      <dsp:spPr>
        <a:xfrm>
          <a:off x="5601764" y="157628"/>
          <a:ext cx="4913783"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b="1" i="1" kern="1200"/>
            <a:t>ICE can interrogate:</a:t>
          </a:r>
          <a:endParaRPr lang="en-US" sz="2100" kern="1200"/>
        </a:p>
      </dsp:txBody>
      <dsp:txXfrm>
        <a:off x="5601764" y="157628"/>
        <a:ext cx="4913783" cy="604800"/>
      </dsp:txXfrm>
    </dsp:sp>
    <dsp:sp modelId="{855F6275-9653-4E64-953F-F03D94C52F30}">
      <dsp:nvSpPr>
        <dsp:cNvPr id="0" name=""/>
        <dsp:cNvSpPr/>
      </dsp:nvSpPr>
      <dsp:spPr>
        <a:xfrm>
          <a:off x="5601764" y="762428"/>
          <a:ext cx="4913783" cy="396309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ICE officers may interrogate a noncitizen or person believed to be a noncitizen as to their “right to be, or to remain in the United States” without a warrant. (</a:t>
          </a:r>
          <a:r>
            <a:rPr lang="en-US" sz="2100" i="1" kern="1200"/>
            <a:t>NOTE: individuals have a right to remain silent and to a lawyer even if undocumented</a:t>
          </a:r>
          <a:r>
            <a:rPr lang="en-US" sz="2100" kern="1200"/>
            <a:t>).</a:t>
          </a:r>
        </a:p>
        <a:p>
          <a:pPr marL="228600" lvl="1" indent="-228600" algn="l" defTabSz="933450">
            <a:lnSpc>
              <a:spcPct val="90000"/>
            </a:lnSpc>
            <a:spcBef>
              <a:spcPct val="0"/>
            </a:spcBef>
            <a:spcAft>
              <a:spcPct val="15000"/>
            </a:spcAft>
            <a:buChar char="•"/>
          </a:pPr>
          <a:endParaRPr lang="en-US" sz="2100" kern="1200"/>
        </a:p>
        <a:p>
          <a:pPr marL="228600" lvl="1" indent="-228600" algn="l" defTabSz="933450">
            <a:lnSpc>
              <a:spcPct val="90000"/>
            </a:lnSpc>
            <a:spcBef>
              <a:spcPct val="0"/>
            </a:spcBef>
            <a:spcAft>
              <a:spcPct val="15000"/>
            </a:spcAft>
            <a:buChar char="•"/>
          </a:pPr>
          <a:r>
            <a:rPr lang="en-US" sz="2100" kern="1200"/>
            <a:t>ICE cannot approach any individual based on race or nationality alone.  However, ICE can approach a person based on factors unknown to the interrogated person.  </a:t>
          </a:r>
        </a:p>
      </dsp:txBody>
      <dsp:txXfrm>
        <a:off x="5601764" y="762428"/>
        <a:ext cx="4913783" cy="39630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ED4A59-B821-4DC6-95DF-AB53709D5043}">
      <dsp:nvSpPr>
        <dsp:cNvPr id="0" name=""/>
        <dsp:cNvSpPr/>
      </dsp:nvSpPr>
      <dsp:spPr>
        <a:xfrm>
          <a:off x="0" y="90728"/>
          <a:ext cx="10515600" cy="4169880"/>
        </a:xfrm>
        <a:prstGeom prst="roundRect">
          <a:avLst/>
        </a:prstGeom>
        <a:solidFill>
          <a:schemeClr val="accent4">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b="0" i="0" kern="1200"/>
            <a:t>Harboring -- Subsection 1324(a)(1)(A)(iii) makes it an offense for any person who -- knowing or in reckless disregard of the fact that an alien has come to, entered, or remains in the United States in violation of law, conceals harbors, or shields from detection, or attempts to conceal, harbor, or shield from detection, such alien in any place, including any building or any means of transportation.</a:t>
          </a:r>
          <a:endParaRPr lang="en-US" sz="3300" kern="1200"/>
        </a:p>
      </dsp:txBody>
      <dsp:txXfrm>
        <a:off x="203557" y="294285"/>
        <a:ext cx="10108486" cy="37627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D5512-AB26-4293-8F83-9AF50A7D7F22}">
      <dsp:nvSpPr>
        <dsp:cNvPr id="0" name=""/>
        <dsp:cNvSpPr/>
      </dsp:nvSpPr>
      <dsp:spPr>
        <a:xfrm>
          <a:off x="0" y="0"/>
          <a:ext cx="543877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F9E81A-85D8-40DA-9E06-D9639F805B2A}">
      <dsp:nvSpPr>
        <dsp:cNvPr id="0" name=""/>
        <dsp:cNvSpPr/>
      </dsp:nvSpPr>
      <dsp:spPr>
        <a:xfrm>
          <a:off x="0" y="0"/>
          <a:ext cx="5438774" cy="1214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Lawful assistance provided to a person who has documented or pending legal status. </a:t>
          </a:r>
        </a:p>
      </dsp:txBody>
      <dsp:txXfrm>
        <a:off x="0" y="0"/>
        <a:ext cx="5438774" cy="1214437"/>
      </dsp:txXfrm>
    </dsp:sp>
    <dsp:sp modelId="{F7C7487C-45A6-42DC-B0C1-566E4B370F2D}">
      <dsp:nvSpPr>
        <dsp:cNvPr id="0" name=""/>
        <dsp:cNvSpPr/>
      </dsp:nvSpPr>
      <dsp:spPr>
        <a:xfrm>
          <a:off x="0" y="1214437"/>
          <a:ext cx="543877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0DF25E-B973-475B-9224-CEC674A46BF6}">
      <dsp:nvSpPr>
        <dsp:cNvPr id="0" name=""/>
        <dsp:cNvSpPr/>
      </dsp:nvSpPr>
      <dsp:spPr>
        <a:xfrm>
          <a:off x="0" y="1214437"/>
          <a:ext cx="5438774" cy="1214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Any help provided for basic human needs such as food, clothing, etc. that is NOT intended to hide the undocumented person from ICE.</a:t>
          </a:r>
        </a:p>
      </dsp:txBody>
      <dsp:txXfrm>
        <a:off x="0" y="1214437"/>
        <a:ext cx="5438774" cy="1214437"/>
      </dsp:txXfrm>
    </dsp:sp>
    <dsp:sp modelId="{873DA7EF-4671-41D9-93CC-889B12A5FCAF}">
      <dsp:nvSpPr>
        <dsp:cNvPr id="0" name=""/>
        <dsp:cNvSpPr/>
      </dsp:nvSpPr>
      <dsp:spPr>
        <a:xfrm>
          <a:off x="0" y="2428875"/>
          <a:ext cx="543877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16F1DB-32CD-4F4C-AA7C-B488F3F09CA2}">
      <dsp:nvSpPr>
        <dsp:cNvPr id="0" name=""/>
        <dsp:cNvSpPr/>
      </dsp:nvSpPr>
      <dsp:spPr>
        <a:xfrm>
          <a:off x="0" y="2428875"/>
          <a:ext cx="5438774" cy="1214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Legal assistance designed to obtain lawful status.</a:t>
          </a:r>
        </a:p>
      </dsp:txBody>
      <dsp:txXfrm>
        <a:off x="0" y="2428875"/>
        <a:ext cx="5438774" cy="1214437"/>
      </dsp:txXfrm>
    </dsp:sp>
    <dsp:sp modelId="{B74984A4-C60E-4F41-8242-59663684E1A6}">
      <dsp:nvSpPr>
        <dsp:cNvPr id="0" name=""/>
        <dsp:cNvSpPr/>
      </dsp:nvSpPr>
      <dsp:spPr>
        <a:xfrm>
          <a:off x="0" y="3643312"/>
          <a:ext cx="543877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633B73-21E3-45CC-89F6-30908422FE89}">
      <dsp:nvSpPr>
        <dsp:cNvPr id="0" name=""/>
        <dsp:cNvSpPr/>
      </dsp:nvSpPr>
      <dsp:spPr>
        <a:xfrm>
          <a:off x="0" y="3643312"/>
          <a:ext cx="5438774" cy="1214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t>Neighborhood watches that assist everyone and</a:t>
          </a:r>
          <a:r>
            <a:rPr lang="en-US" sz="2000" kern="1200">
              <a:latin typeface="Arial"/>
            </a:rPr>
            <a:t> are</a:t>
          </a:r>
          <a:r>
            <a:rPr lang="en-US" sz="2000" kern="1200"/>
            <a:t> not intended to assist individuals to remain in violation of the law.</a:t>
          </a:r>
        </a:p>
      </dsp:txBody>
      <dsp:txXfrm>
        <a:off x="0" y="3643312"/>
        <a:ext cx="5438774" cy="121443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19A88-07A4-43D8-88C4-9BF209DC27E5}">
      <dsp:nvSpPr>
        <dsp:cNvPr id="0" name=""/>
        <dsp:cNvSpPr/>
      </dsp:nvSpPr>
      <dsp:spPr>
        <a:xfrm>
          <a:off x="2" y="0"/>
          <a:ext cx="4913783" cy="939085"/>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i="1" kern="1200"/>
            <a:t>Safety Protocols: During Event</a:t>
          </a:r>
          <a:endParaRPr lang="en-US" sz="2400" kern="1200"/>
        </a:p>
      </dsp:txBody>
      <dsp:txXfrm>
        <a:off x="2" y="0"/>
        <a:ext cx="4913783" cy="939085"/>
      </dsp:txXfrm>
    </dsp:sp>
    <dsp:sp modelId="{855F6275-9653-4E64-953F-F03D94C52F30}">
      <dsp:nvSpPr>
        <dsp:cNvPr id="0" name=""/>
        <dsp:cNvSpPr/>
      </dsp:nvSpPr>
      <dsp:spPr>
        <a:xfrm>
          <a:off x="51" y="1080671"/>
          <a:ext cx="4913783" cy="284216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a:latin typeface="Calibri" panose="020F0502020204030204" pitchFamily="34" charset="0"/>
              <a:ea typeface="Calibri" panose="020F0502020204030204" pitchFamily="34" charset="0"/>
              <a:cs typeface="Calibri" panose="020F0502020204030204" pitchFamily="34" charset="0"/>
            </a:rPr>
            <a:t>May consider soft lockdown (if consistent with school policy regarding law enforcement presence on school grounds)</a:t>
          </a:r>
          <a:endParaRPr lang="en-US" sz="2200" b="0" kern="120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28600" lvl="1" indent="-228600" algn="l" defTabSz="977900">
            <a:lnSpc>
              <a:spcPct val="90000"/>
            </a:lnSpc>
            <a:spcBef>
              <a:spcPct val="0"/>
            </a:spcBef>
            <a:spcAft>
              <a:spcPct val="15000"/>
            </a:spcAft>
            <a:buChar char="•"/>
          </a:pPr>
          <a:r>
            <a:rPr lang="en-US" sz="2200" b="0" kern="1200">
              <a:solidFill>
                <a:schemeClr val="tx1"/>
              </a:solidFill>
              <a:latin typeface="Calibri" panose="020F0502020204030204" pitchFamily="34" charset="0"/>
              <a:ea typeface="Calibri" panose="020F0502020204030204" pitchFamily="34" charset="0"/>
              <a:cs typeface="Calibri" panose="020F0502020204030204" pitchFamily="34" charset="0"/>
            </a:rPr>
            <a:t>If ICE is seeking access to a person inside the school building, they must present a judicial warrant. Contact central office and district counsel.</a:t>
          </a:r>
        </a:p>
      </dsp:txBody>
      <dsp:txXfrm>
        <a:off x="51" y="1080671"/>
        <a:ext cx="4913783" cy="2842166"/>
      </dsp:txXfrm>
    </dsp:sp>
    <dsp:sp modelId="{9C6EF60A-314F-44F6-ABCA-278996C670F8}">
      <dsp:nvSpPr>
        <dsp:cNvPr id="0" name=""/>
        <dsp:cNvSpPr/>
      </dsp:nvSpPr>
      <dsp:spPr>
        <a:xfrm>
          <a:off x="5601814" y="0"/>
          <a:ext cx="4913783" cy="887715"/>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i="1" kern="1200">
              <a:solidFill>
                <a:schemeClr val="bg1"/>
              </a:solidFill>
              <a:latin typeface="Calibri" panose="020F0502020204030204" pitchFamily="34" charset="0"/>
              <a:ea typeface="Calibri" panose="020F0502020204030204" pitchFamily="34" charset="0"/>
              <a:cs typeface="Calibri" panose="020F0502020204030204" pitchFamily="34" charset="0"/>
            </a:rPr>
            <a:t>Safety Protocols: After Event</a:t>
          </a:r>
          <a:endParaRPr lang="en-US" sz="2800" b="0" i="1" kern="1200">
            <a:solidFill>
              <a:schemeClr val="bg1"/>
            </a:solidFill>
            <a:latin typeface="Calibri" panose="020F0502020204030204" pitchFamily="34" charset="0"/>
            <a:ea typeface="Calibri" panose="020F0502020204030204" pitchFamily="34" charset="0"/>
            <a:cs typeface="Calibri" panose="020F0502020204030204" pitchFamily="34" charset="0"/>
          </a:endParaRPr>
        </a:p>
      </dsp:txBody>
      <dsp:txXfrm>
        <a:off x="5601814" y="0"/>
        <a:ext cx="4913783" cy="887715"/>
      </dsp:txXfrm>
    </dsp:sp>
    <dsp:sp modelId="{CB19725E-6D59-4221-9296-0DEC0AD637EB}">
      <dsp:nvSpPr>
        <dsp:cNvPr id="0" name=""/>
        <dsp:cNvSpPr/>
      </dsp:nvSpPr>
      <dsp:spPr>
        <a:xfrm>
          <a:off x="5601764" y="1068766"/>
          <a:ext cx="4913783" cy="281362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b="0" kern="120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a:t>
          </a:r>
        </a:p>
        <a:p>
          <a:pPr marL="228600" lvl="1" indent="-228600" algn="l" defTabSz="1066800">
            <a:lnSpc>
              <a:spcPct val="90000"/>
            </a:lnSpc>
            <a:spcBef>
              <a:spcPct val="0"/>
            </a:spcBef>
            <a:spcAft>
              <a:spcPct val="15000"/>
            </a:spcAft>
            <a:buChar char="•"/>
          </a:pPr>
          <a:r>
            <a:rPr lang="en-US" sz="2400" b="0" kern="1200">
              <a:solidFill>
                <a:schemeClr val="tx1"/>
              </a:solidFill>
              <a:latin typeface="Calibri" panose="020F0502020204030204" pitchFamily="34" charset="0"/>
              <a:ea typeface="Calibri" panose="020F0502020204030204" pitchFamily="34" charset="0"/>
              <a:cs typeface="Calibri" panose="020F0502020204030204" pitchFamily="34" charset="0"/>
            </a:rPr>
            <a:t>Maintain sensitivity and awareness regarding student absences, lack of engagement, and behavioral challenges in school</a:t>
          </a:r>
        </a:p>
      </dsp:txBody>
      <dsp:txXfrm>
        <a:off x="5601764" y="1068766"/>
        <a:ext cx="4913783" cy="28136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F33C1B-DEB2-42E2-8C1D-C736FA93DD33}">
      <dsp:nvSpPr>
        <dsp:cNvPr id="0" name=""/>
        <dsp:cNvSpPr/>
      </dsp:nvSpPr>
      <dsp:spPr>
        <a:xfrm>
          <a:off x="0" y="70346"/>
          <a:ext cx="10515599" cy="9886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You may bear witness to a public arrest</a:t>
          </a:r>
        </a:p>
      </dsp:txBody>
      <dsp:txXfrm>
        <a:off x="48262" y="118608"/>
        <a:ext cx="10419075" cy="892126"/>
      </dsp:txXfrm>
    </dsp:sp>
    <dsp:sp modelId="{2224EC29-C838-4426-8D36-34418CDD4534}">
      <dsp:nvSpPr>
        <dsp:cNvPr id="0" name=""/>
        <dsp:cNvSpPr/>
      </dsp:nvSpPr>
      <dsp:spPr>
        <a:xfrm>
          <a:off x="0" y="1133877"/>
          <a:ext cx="10515599" cy="9886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Physically interfering or verbally berating ICE could have adverse consequences for both you and the immigrant</a:t>
          </a:r>
        </a:p>
      </dsp:txBody>
      <dsp:txXfrm>
        <a:off x="48262" y="1182139"/>
        <a:ext cx="10419075" cy="892126"/>
      </dsp:txXfrm>
    </dsp:sp>
    <dsp:sp modelId="{C4854E21-9E7A-4513-A7BE-5C6E0FDCF09F}">
      <dsp:nvSpPr>
        <dsp:cNvPr id="0" name=""/>
        <dsp:cNvSpPr/>
      </dsp:nvSpPr>
      <dsp:spPr>
        <a:xfrm>
          <a:off x="0" y="2197407"/>
          <a:ext cx="10515599" cy="9886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Rights</a:t>
          </a:r>
          <a:r>
            <a:rPr lang="en-US" sz="2600" kern="1200" baseline="0"/>
            <a:t> of Bystanders</a:t>
          </a:r>
          <a:endParaRPr lang="en-US" sz="2600" kern="1200"/>
        </a:p>
      </dsp:txBody>
      <dsp:txXfrm>
        <a:off x="48262" y="2245669"/>
        <a:ext cx="10419075" cy="892126"/>
      </dsp:txXfrm>
    </dsp:sp>
    <dsp:sp modelId="{A625D74D-5369-4E8B-A616-50DBC9CB9E7C}">
      <dsp:nvSpPr>
        <dsp:cNvPr id="0" name=""/>
        <dsp:cNvSpPr/>
      </dsp:nvSpPr>
      <dsp:spPr>
        <a:xfrm>
          <a:off x="0" y="3186057"/>
          <a:ext cx="10515599" cy="1937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a:t>You have the right to witness and document</a:t>
          </a:r>
        </a:p>
        <a:p>
          <a:pPr marL="457200" lvl="2" indent="-228600" algn="l" defTabSz="889000">
            <a:lnSpc>
              <a:spcPct val="90000"/>
            </a:lnSpc>
            <a:spcBef>
              <a:spcPct val="0"/>
            </a:spcBef>
            <a:spcAft>
              <a:spcPct val="20000"/>
            </a:spcAft>
            <a:buFont typeface="Wingdings" panose="05000000000000000000" pitchFamily="2" charset="2"/>
            <a:buChar char="Ø"/>
          </a:pPr>
          <a:r>
            <a:rPr lang="en-US" sz="2000" kern="1200"/>
            <a:t>	You can observe ICE officers from a safe distance</a:t>
          </a:r>
        </a:p>
        <a:p>
          <a:pPr marL="457200" lvl="2" indent="-228600" algn="l" defTabSz="889000">
            <a:lnSpc>
              <a:spcPct val="90000"/>
            </a:lnSpc>
            <a:spcBef>
              <a:spcPct val="0"/>
            </a:spcBef>
            <a:spcAft>
              <a:spcPct val="20000"/>
            </a:spcAft>
            <a:buFont typeface="Wingdings" panose="05000000000000000000" pitchFamily="2" charset="2"/>
            <a:buChar char="Ø"/>
          </a:pPr>
          <a:r>
            <a:rPr lang="en-US" sz="2000" kern="1200"/>
            <a:t>	Massachusetts law allows for videotaping, disclose if using sound</a:t>
          </a:r>
        </a:p>
        <a:p>
          <a:pPr marL="228600" lvl="1" indent="-228600" algn="l" defTabSz="889000">
            <a:lnSpc>
              <a:spcPct val="90000"/>
            </a:lnSpc>
            <a:spcBef>
              <a:spcPct val="0"/>
            </a:spcBef>
            <a:spcAft>
              <a:spcPct val="20000"/>
            </a:spcAft>
            <a:buChar char="•"/>
          </a:pPr>
          <a:r>
            <a:rPr lang="en-US" sz="2000" kern="1200"/>
            <a:t>You can help by keeping calm and promoting calm</a:t>
          </a:r>
        </a:p>
        <a:p>
          <a:pPr marL="228600" lvl="1" indent="-228600" algn="l" defTabSz="889000">
            <a:lnSpc>
              <a:spcPct val="90000"/>
            </a:lnSpc>
            <a:spcBef>
              <a:spcPct val="0"/>
            </a:spcBef>
            <a:spcAft>
              <a:spcPct val="20000"/>
            </a:spcAft>
            <a:buChar char="•"/>
          </a:pPr>
          <a:r>
            <a:rPr lang="en-US" sz="2000" kern="1200"/>
            <a:t>You can remain silent if asked any questions by ICE</a:t>
          </a:r>
        </a:p>
        <a:p>
          <a:pPr marL="228600" lvl="1" indent="-228600" algn="l" defTabSz="889000">
            <a:lnSpc>
              <a:spcPct val="90000"/>
            </a:lnSpc>
            <a:spcBef>
              <a:spcPct val="0"/>
            </a:spcBef>
            <a:spcAft>
              <a:spcPct val="20000"/>
            </a:spcAft>
            <a:buChar char="•"/>
          </a:pPr>
          <a:r>
            <a:rPr lang="en-US" sz="2000" kern="1200"/>
            <a:t>You can ask the immigrant if they want you to call someone</a:t>
          </a:r>
        </a:p>
      </dsp:txBody>
      <dsp:txXfrm>
        <a:off x="0" y="3186057"/>
        <a:ext cx="10515599" cy="19375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19A88-07A4-43D8-88C4-9BF209DC27E5}">
      <dsp:nvSpPr>
        <dsp:cNvPr id="0" name=""/>
        <dsp:cNvSpPr/>
      </dsp:nvSpPr>
      <dsp:spPr>
        <a:xfrm>
          <a:off x="2" y="0"/>
          <a:ext cx="4913783" cy="92030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i="1" kern="1200">
              <a:solidFill>
                <a:schemeClr val="bg1"/>
              </a:solidFill>
              <a:latin typeface="Calibri"/>
              <a:ea typeface="Calibri"/>
              <a:cs typeface="Calibri"/>
            </a:rPr>
            <a:t>Supporting Impacted Student</a:t>
          </a:r>
          <a:endParaRPr lang="en-US" sz="3200" b="1" i="1" kern="1200">
            <a:solidFill>
              <a:schemeClr val="bg1"/>
            </a:solidFill>
          </a:endParaRPr>
        </a:p>
      </dsp:txBody>
      <dsp:txXfrm>
        <a:off x="2" y="0"/>
        <a:ext cx="4913783" cy="920304"/>
      </dsp:txXfrm>
    </dsp:sp>
    <dsp:sp modelId="{855F6275-9653-4E64-953F-F03D94C52F30}">
      <dsp:nvSpPr>
        <dsp:cNvPr id="0" name=""/>
        <dsp:cNvSpPr/>
      </dsp:nvSpPr>
      <dsp:spPr>
        <a:xfrm>
          <a:off x="51" y="1056932"/>
          <a:ext cx="4913783" cy="360641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1" kern="1200">
              <a:solidFill>
                <a:srgbClr val="FF0000"/>
              </a:solidFill>
              <a:latin typeface="Calibri"/>
              <a:ea typeface="Calibri"/>
              <a:cs typeface="Calibri"/>
            </a:rPr>
            <a:t>Determine alternative caregiver:</a:t>
          </a:r>
          <a:r>
            <a:rPr lang="en-US" sz="2000" b="0" kern="1200">
              <a:solidFill>
                <a:schemeClr val="tx1"/>
              </a:solidFill>
              <a:latin typeface="Calibri"/>
              <a:ea typeface="Calibri"/>
              <a:cs typeface="Calibri"/>
            </a:rPr>
            <a:t> </a:t>
          </a:r>
        </a:p>
        <a:p>
          <a:pPr marL="457200" lvl="2" indent="-228600" algn="l" defTabSz="889000">
            <a:lnSpc>
              <a:spcPct val="90000"/>
            </a:lnSpc>
            <a:spcBef>
              <a:spcPct val="0"/>
            </a:spcBef>
            <a:spcAft>
              <a:spcPct val="15000"/>
            </a:spcAft>
            <a:buChar char="•"/>
          </a:pPr>
          <a:r>
            <a:rPr lang="en-US" sz="2000" b="0" kern="1200">
              <a:solidFill>
                <a:schemeClr val="tx1"/>
              </a:solidFill>
              <a:latin typeface="Calibri"/>
              <a:ea typeface="Calibri"/>
              <a:cs typeface="Calibri"/>
            </a:rPr>
            <a:t>Check student’s emergency contact information + authorized pick-up contacts</a:t>
          </a:r>
        </a:p>
        <a:p>
          <a:pPr marL="457200" lvl="2" indent="-228600" algn="l" defTabSz="889000">
            <a:lnSpc>
              <a:spcPct val="90000"/>
            </a:lnSpc>
            <a:spcBef>
              <a:spcPct val="0"/>
            </a:spcBef>
            <a:spcAft>
              <a:spcPct val="15000"/>
            </a:spcAft>
            <a:buChar char="•"/>
          </a:pPr>
          <a:r>
            <a:rPr lang="en-US" sz="2000" b="0" kern="1200">
              <a:solidFill>
                <a:schemeClr val="tx1"/>
              </a:solidFill>
              <a:latin typeface="Calibri"/>
              <a:ea typeface="Calibri"/>
              <a:cs typeface="Calibri"/>
            </a:rPr>
            <a:t>Is there a custodial chain on file? Check for alternative caregiver documents (e.g., caregiver authorization affidavit, temporary agent, guardian) </a:t>
          </a:r>
          <a:r>
            <a:rPr lang="en-US" sz="2000" b="0" kern="1200">
              <a:solidFill>
                <a:schemeClr val="tx1"/>
              </a:solidFill>
              <a:latin typeface="Calibri"/>
              <a:ea typeface="Calibri"/>
              <a:cs typeface="Calibri"/>
              <a:sym typeface="Wingdings" panose="05000000000000000000" pitchFamily="2" charset="2"/>
            </a:rPr>
            <a:t> </a:t>
          </a:r>
          <a:r>
            <a:rPr lang="en-US" sz="2000" b="0" kern="1200">
              <a:solidFill>
                <a:schemeClr val="tx1"/>
              </a:solidFill>
              <a:latin typeface="Calibri"/>
              <a:ea typeface="Calibri"/>
              <a:cs typeface="Calibri"/>
            </a:rPr>
            <a:t>If no alternative caregiver plan in place: DCF</a:t>
          </a:r>
        </a:p>
        <a:p>
          <a:pPr marL="228600" lvl="1" indent="-228600" algn="l" defTabSz="889000">
            <a:lnSpc>
              <a:spcPct val="90000"/>
            </a:lnSpc>
            <a:spcBef>
              <a:spcPct val="0"/>
            </a:spcBef>
            <a:spcAft>
              <a:spcPct val="15000"/>
            </a:spcAft>
            <a:buChar char="•"/>
          </a:pPr>
          <a:r>
            <a:rPr lang="en-US" sz="2000" b="1" kern="1200">
              <a:solidFill>
                <a:srgbClr val="FF0000"/>
              </a:solidFill>
              <a:latin typeface="Calibri"/>
              <a:ea typeface="Calibri"/>
              <a:cs typeface="Calibri"/>
            </a:rPr>
            <a:t>Notify student, being mindful of mental health implications of this news</a:t>
          </a:r>
          <a:endParaRPr lang="en-US" sz="2000" b="0" kern="1200">
            <a:solidFill>
              <a:schemeClr val="tx1"/>
            </a:solidFill>
            <a:latin typeface="Calibri"/>
            <a:ea typeface="Calibri"/>
            <a:cs typeface="Calibri"/>
          </a:endParaRPr>
        </a:p>
      </dsp:txBody>
      <dsp:txXfrm>
        <a:off x="51" y="1056932"/>
        <a:ext cx="4913783" cy="3606415"/>
      </dsp:txXfrm>
    </dsp:sp>
    <dsp:sp modelId="{9C6EF60A-314F-44F6-ABCA-278996C670F8}">
      <dsp:nvSpPr>
        <dsp:cNvPr id="0" name=""/>
        <dsp:cNvSpPr/>
      </dsp:nvSpPr>
      <dsp:spPr>
        <a:xfrm>
          <a:off x="5601814" y="0"/>
          <a:ext cx="4913783" cy="977085"/>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i="1" kern="1200">
              <a:solidFill>
                <a:schemeClr val="bg1"/>
              </a:solidFill>
              <a:latin typeface="Calibri" panose="020F0502020204030204" pitchFamily="34" charset="0"/>
              <a:ea typeface="Calibri" panose="020F0502020204030204" pitchFamily="34" charset="0"/>
              <a:cs typeface="Calibri" panose="020F0502020204030204" pitchFamily="34" charset="0"/>
            </a:rPr>
            <a:t>Community-wide Considerations</a:t>
          </a:r>
          <a:endParaRPr lang="en-US" sz="2800" b="0" i="1" kern="1200">
            <a:solidFill>
              <a:schemeClr val="bg1"/>
            </a:solidFill>
            <a:latin typeface="Calibri" panose="020F0502020204030204" pitchFamily="34" charset="0"/>
            <a:ea typeface="Calibri" panose="020F0502020204030204" pitchFamily="34" charset="0"/>
            <a:cs typeface="Calibri" panose="020F0502020204030204" pitchFamily="34" charset="0"/>
          </a:endParaRPr>
        </a:p>
      </dsp:txBody>
      <dsp:txXfrm>
        <a:off x="5601814" y="0"/>
        <a:ext cx="4913783" cy="977085"/>
      </dsp:txXfrm>
    </dsp:sp>
    <dsp:sp modelId="{CB19725E-6D59-4221-9296-0DEC0AD637EB}">
      <dsp:nvSpPr>
        <dsp:cNvPr id="0" name=""/>
        <dsp:cNvSpPr/>
      </dsp:nvSpPr>
      <dsp:spPr>
        <a:xfrm>
          <a:off x="5601764" y="1088715"/>
          <a:ext cx="4913783" cy="360641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 directly and indirectly impacted</a:t>
          </a:r>
        </a:p>
        <a:p>
          <a:pPr marL="171450" lvl="1" indent="-171450" algn="l" defTabSz="800100">
            <a:lnSpc>
              <a:spcPct val="90000"/>
            </a:lnSpc>
            <a:spcBef>
              <a:spcPct val="0"/>
            </a:spcBef>
            <a:spcAft>
              <a:spcPct val="15000"/>
            </a:spcAft>
            <a:buChar char="•"/>
          </a:pPr>
          <a:r>
            <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rPr>
            <a:t>Be prepared for possible outreach by media contacts—consider student privacy concerns</a:t>
          </a:r>
        </a:p>
        <a:p>
          <a:pPr marL="171450" lvl="1" indent="-171450" algn="l" defTabSz="800100">
            <a:lnSpc>
              <a:spcPct val="90000"/>
            </a:lnSpc>
            <a:spcBef>
              <a:spcPct val="0"/>
            </a:spcBef>
            <a:spcAft>
              <a:spcPct val="15000"/>
            </a:spcAft>
            <a:buChar char="•"/>
          </a:pPr>
          <a:endPar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b="1" kern="1200">
              <a:solidFill>
                <a:srgbClr val="FF0000"/>
              </a:solidFill>
              <a:latin typeface="Calibri" panose="020F0502020204030204" pitchFamily="34" charset="0"/>
              <a:ea typeface="Calibri" panose="020F0502020204030204" pitchFamily="34" charset="0"/>
              <a:cs typeface="Calibri" panose="020F0502020204030204" pitchFamily="34" charset="0"/>
            </a:rPr>
            <a:t>If not already done:</a:t>
          </a:r>
        </a:p>
        <a:p>
          <a:pPr marL="342900" lvl="2" indent="-171450" algn="l" defTabSz="800100">
            <a:lnSpc>
              <a:spcPct val="90000"/>
            </a:lnSpc>
            <a:spcBef>
              <a:spcPct val="0"/>
            </a:spcBef>
            <a:spcAft>
              <a:spcPct val="15000"/>
            </a:spcAft>
            <a:buChar char="•"/>
          </a:pPr>
          <a:r>
            <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rPr>
            <a:t>Update emergency contact information, alternative caretaker contacts, and authorized pick-up contacts for all students</a:t>
          </a:r>
        </a:p>
        <a:p>
          <a:pPr marL="342900" lvl="2" indent="-171450" algn="l" defTabSz="800100">
            <a:lnSpc>
              <a:spcPct val="90000"/>
            </a:lnSpc>
            <a:spcBef>
              <a:spcPct val="0"/>
            </a:spcBef>
            <a:spcAft>
              <a:spcPct val="15000"/>
            </a:spcAft>
            <a:buChar char="•"/>
          </a:pPr>
          <a:r>
            <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rPr>
            <a:t>Share 'plan ahead' resources with families</a:t>
          </a:r>
        </a:p>
        <a:p>
          <a:pPr marL="342900" lvl="2" indent="-171450" algn="l" defTabSz="800100">
            <a:lnSpc>
              <a:spcPct val="90000"/>
            </a:lnSpc>
            <a:spcBef>
              <a:spcPct val="0"/>
            </a:spcBef>
            <a:spcAft>
              <a:spcPct val="15000"/>
            </a:spcAft>
            <a:buChar char="•"/>
          </a:pPr>
          <a:r>
            <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rPr>
            <a:t>Establish clear protocols for school response if a student or their family is detained by ICE </a:t>
          </a:r>
        </a:p>
      </dsp:txBody>
      <dsp:txXfrm>
        <a:off x="5601764" y="1088715"/>
        <a:ext cx="4913783" cy="360641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19A88-07A4-43D8-88C4-9BF209DC27E5}">
      <dsp:nvSpPr>
        <dsp:cNvPr id="0" name=""/>
        <dsp:cNvSpPr/>
      </dsp:nvSpPr>
      <dsp:spPr>
        <a:xfrm>
          <a:off x="2" y="0"/>
          <a:ext cx="4913783" cy="65736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i="1" kern="1200">
              <a:solidFill>
                <a:schemeClr val="bg1"/>
              </a:solidFill>
              <a:latin typeface="Calibri"/>
              <a:ea typeface="Calibri"/>
              <a:cs typeface="Calibri"/>
            </a:rPr>
            <a:t>Supporting Impacted Student</a:t>
          </a:r>
          <a:endParaRPr lang="en-US" sz="2400" b="1" i="1" kern="1200">
            <a:solidFill>
              <a:schemeClr val="bg1"/>
            </a:solidFill>
          </a:endParaRPr>
        </a:p>
      </dsp:txBody>
      <dsp:txXfrm>
        <a:off x="2" y="0"/>
        <a:ext cx="4913783" cy="657360"/>
      </dsp:txXfrm>
    </dsp:sp>
    <dsp:sp modelId="{855F6275-9653-4E64-953F-F03D94C52F30}">
      <dsp:nvSpPr>
        <dsp:cNvPr id="0" name=""/>
        <dsp:cNvSpPr/>
      </dsp:nvSpPr>
      <dsp:spPr>
        <a:xfrm>
          <a:off x="51" y="758126"/>
          <a:ext cx="4913783" cy="2930287"/>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1" kern="1200">
              <a:solidFill>
                <a:srgbClr val="FF0000"/>
              </a:solidFill>
              <a:latin typeface="Calibri"/>
              <a:ea typeface="Calibri"/>
              <a:cs typeface="Calibri"/>
            </a:rPr>
            <a:t>Check in with student:</a:t>
          </a:r>
          <a:r>
            <a:rPr lang="en-US" sz="1800" b="0" kern="1200">
              <a:solidFill>
                <a:schemeClr val="tx1"/>
              </a:solidFill>
              <a:latin typeface="Calibri"/>
              <a:ea typeface="Calibri"/>
              <a:cs typeface="Calibri"/>
            </a:rPr>
            <a:t> </a:t>
          </a:r>
        </a:p>
        <a:p>
          <a:pPr marL="342900" lvl="2" indent="-171450" algn="l" defTabSz="800100">
            <a:lnSpc>
              <a:spcPct val="90000"/>
            </a:lnSpc>
            <a:spcBef>
              <a:spcPct val="0"/>
            </a:spcBef>
            <a:spcAft>
              <a:spcPct val="15000"/>
            </a:spcAft>
            <a:buChar char="•"/>
          </a:pPr>
          <a:r>
            <a:rPr lang="en-US" sz="1800" b="0" kern="1200">
              <a:solidFill>
                <a:schemeClr val="tx1"/>
              </a:solidFill>
              <a:latin typeface="Calibri"/>
              <a:ea typeface="Calibri"/>
              <a:cs typeface="Calibri"/>
            </a:rPr>
            <a:t>Offer school counseling support</a:t>
          </a:r>
        </a:p>
        <a:p>
          <a:pPr marL="342900" lvl="2" indent="-171450" algn="l" defTabSz="800100">
            <a:lnSpc>
              <a:spcPct val="90000"/>
            </a:lnSpc>
            <a:spcBef>
              <a:spcPct val="0"/>
            </a:spcBef>
            <a:spcAft>
              <a:spcPct val="15000"/>
            </a:spcAft>
            <a:buChar char="•"/>
          </a:pPr>
          <a:r>
            <a:rPr lang="en-US" sz="1800" b="0" kern="1200">
              <a:solidFill>
                <a:schemeClr val="tx1"/>
              </a:solidFill>
              <a:latin typeface="Calibri"/>
              <a:ea typeface="Calibri"/>
              <a:cs typeface="Calibri"/>
            </a:rPr>
            <a:t>Refer to additional mental health services as appropriate</a:t>
          </a:r>
        </a:p>
        <a:p>
          <a:pPr marL="171450" lvl="1" indent="-171450" algn="l" defTabSz="800100">
            <a:lnSpc>
              <a:spcPct val="90000"/>
            </a:lnSpc>
            <a:spcBef>
              <a:spcPct val="0"/>
            </a:spcBef>
            <a:spcAft>
              <a:spcPct val="15000"/>
            </a:spcAft>
            <a:buChar char="•"/>
          </a:pPr>
          <a:r>
            <a:rPr lang="en-US" sz="1800" b="0" kern="1200">
              <a:solidFill>
                <a:schemeClr val="tx1"/>
              </a:solidFill>
              <a:latin typeface="Calibri"/>
              <a:ea typeface="Calibri"/>
              <a:cs typeface="Calibri"/>
            </a:rPr>
            <a:t>Is there a </a:t>
          </a:r>
          <a:r>
            <a:rPr lang="en-US" sz="1800" b="1" kern="1200">
              <a:solidFill>
                <a:srgbClr val="FF0000"/>
              </a:solidFill>
              <a:latin typeface="Calibri"/>
              <a:ea typeface="Calibri"/>
              <a:cs typeface="Calibri"/>
            </a:rPr>
            <a:t>custodial chain </a:t>
          </a:r>
          <a:r>
            <a:rPr lang="en-US" sz="1800" b="0" kern="1200">
              <a:solidFill>
                <a:schemeClr val="tx1"/>
              </a:solidFill>
              <a:latin typeface="Calibri"/>
              <a:ea typeface="Calibri"/>
              <a:cs typeface="Calibri"/>
            </a:rPr>
            <a:t>on file? Check for alternative caregiver documents (e.g., caregiver authorization affidavit, temporary agent, guardian) </a:t>
          </a:r>
          <a:r>
            <a:rPr lang="en-US" sz="1800" b="0" kern="1200">
              <a:solidFill>
                <a:schemeClr val="tx1"/>
              </a:solidFill>
              <a:latin typeface="Calibri"/>
              <a:ea typeface="Calibri"/>
              <a:cs typeface="Calibri"/>
              <a:sym typeface="Wingdings" panose="05000000000000000000" pitchFamily="2" charset="2"/>
            </a:rPr>
            <a:t> </a:t>
          </a:r>
          <a:r>
            <a:rPr lang="en-US" sz="1800" b="0" kern="1200">
              <a:solidFill>
                <a:schemeClr val="tx1"/>
              </a:solidFill>
              <a:latin typeface="Calibri"/>
              <a:ea typeface="Calibri"/>
              <a:cs typeface="Calibri"/>
            </a:rPr>
            <a:t>If no alternative caregiver plan in place: DCF</a:t>
          </a:r>
        </a:p>
        <a:p>
          <a:pPr marL="171450" lvl="1" indent="-171450" algn="l" defTabSz="800100">
            <a:lnSpc>
              <a:spcPct val="90000"/>
            </a:lnSpc>
            <a:spcBef>
              <a:spcPct val="0"/>
            </a:spcBef>
            <a:spcAft>
              <a:spcPct val="15000"/>
            </a:spcAft>
            <a:buChar char="•"/>
          </a:pPr>
          <a:r>
            <a:rPr lang="en-US" sz="1800" b="0" kern="1200">
              <a:solidFill>
                <a:schemeClr val="tx1"/>
              </a:solidFill>
              <a:latin typeface="Calibri" panose="020F0502020204030204" pitchFamily="34" charset="0"/>
              <a:ea typeface="Calibri" panose="020F0502020204030204" pitchFamily="34" charset="0"/>
              <a:cs typeface="Calibri" panose="020F0502020204030204" pitchFamily="34" charset="0"/>
            </a:rPr>
            <a:t>Alert school and district leadership</a:t>
          </a:r>
          <a:endParaRPr lang="en-US" sz="1800" b="0" kern="1200">
            <a:solidFill>
              <a:schemeClr val="tx1"/>
            </a:solidFill>
            <a:latin typeface="Calibri"/>
            <a:ea typeface="Calibri"/>
            <a:cs typeface="Calibri"/>
          </a:endParaRPr>
        </a:p>
      </dsp:txBody>
      <dsp:txXfrm>
        <a:off x="51" y="758126"/>
        <a:ext cx="4913783" cy="2930287"/>
      </dsp:txXfrm>
    </dsp:sp>
    <dsp:sp modelId="{9C6EF60A-314F-44F6-ABCA-278996C670F8}">
      <dsp:nvSpPr>
        <dsp:cNvPr id="0" name=""/>
        <dsp:cNvSpPr/>
      </dsp:nvSpPr>
      <dsp:spPr>
        <a:xfrm>
          <a:off x="5601814" y="0"/>
          <a:ext cx="4913783" cy="697918"/>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i="1" kern="1200">
              <a:solidFill>
                <a:schemeClr val="bg1"/>
              </a:solidFill>
              <a:latin typeface="Calibri" panose="020F0502020204030204" pitchFamily="34" charset="0"/>
              <a:ea typeface="Calibri" panose="020F0502020204030204" pitchFamily="34" charset="0"/>
              <a:cs typeface="Calibri" panose="020F0502020204030204" pitchFamily="34" charset="0"/>
            </a:rPr>
            <a:t>Community-wide Considerations</a:t>
          </a:r>
          <a:endParaRPr lang="en-US" sz="2000" b="0" i="1" kern="1200">
            <a:solidFill>
              <a:schemeClr val="bg1"/>
            </a:solidFill>
            <a:latin typeface="Calibri" panose="020F0502020204030204" pitchFamily="34" charset="0"/>
            <a:ea typeface="Calibri" panose="020F0502020204030204" pitchFamily="34" charset="0"/>
            <a:cs typeface="Calibri" panose="020F0502020204030204" pitchFamily="34" charset="0"/>
          </a:endParaRPr>
        </a:p>
      </dsp:txBody>
      <dsp:txXfrm>
        <a:off x="5601814" y="0"/>
        <a:ext cx="4913783" cy="697918"/>
      </dsp:txXfrm>
    </dsp:sp>
    <dsp:sp modelId="{CB19725E-6D59-4221-9296-0DEC0AD637EB}">
      <dsp:nvSpPr>
        <dsp:cNvPr id="0" name=""/>
        <dsp:cNvSpPr/>
      </dsp:nvSpPr>
      <dsp:spPr>
        <a:xfrm>
          <a:off x="5601764" y="780828"/>
          <a:ext cx="4913783" cy="2930287"/>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kern="120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 indirectly impacted</a:t>
          </a:r>
        </a:p>
        <a:p>
          <a:pPr marL="228600" lvl="1" indent="-228600" algn="l" defTabSz="889000">
            <a:lnSpc>
              <a:spcPct val="90000"/>
            </a:lnSpc>
            <a:spcBef>
              <a:spcPct val="0"/>
            </a:spcBef>
            <a:spcAft>
              <a:spcPct val="15000"/>
            </a:spcAft>
            <a:buChar char="•"/>
          </a:pPr>
          <a:r>
            <a:rPr lang="en-US" sz="2000" b="0" kern="1200">
              <a:solidFill>
                <a:schemeClr val="tx1"/>
              </a:solidFill>
              <a:latin typeface="Calibri" panose="020F0502020204030204" pitchFamily="34" charset="0"/>
              <a:ea typeface="Calibri" panose="020F0502020204030204" pitchFamily="34" charset="0"/>
              <a:cs typeface="Calibri" panose="020F0502020204030204" pitchFamily="34" charset="0"/>
            </a:rPr>
            <a:t>Be prepared for possible outreach by media contacts—consider student privacy concerns</a:t>
          </a:r>
        </a:p>
      </dsp:txBody>
      <dsp:txXfrm>
        <a:off x="5601764" y="780828"/>
        <a:ext cx="4913783" cy="293028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19A88-07A4-43D8-88C4-9BF209DC27E5}">
      <dsp:nvSpPr>
        <dsp:cNvPr id="0" name=""/>
        <dsp:cNvSpPr/>
      </dsp:nvSpPr>
      <dsp:spPr>
        <a:xfrm>
          <a:off x="2" y="0"/>
          <a:ext cx="4913783" cy="26294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i="1" kern="1200">
              <a:solidFill>
                <a:schemeClr val="bg1"/>
              </a:solidFill>
              <a:latin typeface="Calibri"/>
              <a:ea typeface="Calibri"/>
              <a:cs typeface="Calibri"/>
            </a:rPr>
            <a:t>Supporting Closely Impacted Students</a:t>
          </a:r>
          <a:endParaRPr lang="en-US" sz="2400" b="1" i="1" kern="1200">
            <a:solidFill>
              <a:schemeClr val="bg1"/>
            </a:solidFill>
          </a:endParaRPr>
        </a:p>
      </dsp:txBody>
      <dsp:txXfrm>
        <a:off x="2" y="0"/>
        <a:ext cx="4913783" cy="262944"/>
      </dsp:txXfrm>
    </dsp:sp>
    <dsp:sp modelId="{855F6275-9653-4E64-953F-F03D94C52F30}">
      <dsp:nvSpPr>
        <dsp:cNvPr id="0" name=""/>
        <dsp:cNvSpPr/>
      </dsp:nvSpPr>
      <dsp:spPr>
        <a:xfrm>
          <a:off x="51" y="301702"/>
          <a:ext cx="4913783" cy="3478921"/>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1" kern="1200">
              <a:solidFill>
                <a:srgbClr val="FF0000"/>
              </a:solidFill>
              <a:latin typeface="Calibri"/>
              <a:ea typeface="Calibri"/>
              <a:cs typeface="Calibri"/>
            </a:rPr>
            <a:t>Check in with student’s sibling(s) &amp; classmates:</a:t>
          </a:r>
          <a:r>
            <a:rPr lang="en-US" sz="2000" b="0" kern="1200">
              <a:solidFill>
                <a:schemeClr val="tx1"/>
              </a:solidFill>
              <a:latin typeface="Calibri"/>
              <a:ea typeface="Calibri"/>
              <a:cs typeface="Calibri"/>
            </a:rPr>
            <a:t> </a:t>
          </a:r>
        </a:p>
        <a:p>
          <a:pPr marL="457200" lvl="2" indent="-228600" algn="l" defTabSz="889000">
            <a:lnSpc>
              <a:spcPct val="90000"/>
            </a:lnSpc>
            <a:spcBef>
              <a:spcPct val="0"/>
            </a:spcBef>
            <a:spcAft>
              <a:spcPct val="15000"/>
            </a:spcAft>
            <a:buChar char="•"/>
          </a:pPr>
          <a:r>
            <a:rPr lang="en-US" sz="2000" b="0" kern="1200">
              <a:solidFill>
                <a:schemeClr val="tx1"/>
              </a:solidFill>
              <a:latin typeface="Calibri"/>
              <a:ea typeface="Calibri"/>
              <a:cs typeface="Calibri"/>
            </a:rPr>
            <a:t>Offer school counseling</a:t>
          </a:r>
        </a:p>
        <a:p>
          <a:pPr marL="457200" lvl="2" indent="-228600" algn="l" defTabSz="889000">
            <a:lnSpc>
              <a:spcPct val="90000"/>
            </a:lnSpc>
            <a:spcBef>
              <a:spcPct val="0"/>
            </a:spcBef>
            <a:spcAft>
              <a:spcPct val="15000"/>
            </a:spcAft>
            <a:buChar char="•"/>
          </a:pPr>
          <a:r>
            <a:rPr lang="en-US" sz="2000" b="0" kern="1200">
              <a:solidFill>
                <a:schemeClr val="tx1"/>
              </a:solidFill>
              <a:latin typeface="Calibri"/>
              <a:ea typeface="Calibri"/>
              <a:cs typeface="Calibri"/>
            </a:rPr>
            <a:t>Refer to additional mental health services as appropriate</a:t>
          </a:r>
        </a:p>
        <a:p>
          <a:pPr marL="228600" lvl="1" indent="-228600" algn="l" defTabSz="889000">
            <a:lnSpc>
              <a:spcPct val="90000"/>
            </a:lnSpc>
            <a:spcBef>
              <a:spcPct val="0"/>
            </a:spcBef>
            <a:spcAft>
              <a:spcPct val="15000"/>
            </a:spcAft>
            <a:buChar char="•"/>
          </a:pPr>
          <a:r>
            <a:rPr lang="en-US" sz="2000" b="1" kern="1200">
              <a:solidFill>
                <a:srgbClr val="FF0000"/>
              </a:solidFill>
              <a:latin typeface="Calibri"/>
              <a:ea typeface="Calibri"/>
              <a:cs typeface="Calibri"/>
            </a:rPr>
            <a:t>Check in with family/caregiver</a:t>
          </a:r>
        </a:p>
        <a:p>
          <a:pPr marL="457200" lvl="2" indent="-228600" algn="l" defTabSz="889000">
            <a:lnSpc>
              <a:spcPct val="90000"/>
            </a:lnSpc>
            <a:spcBef>
              <a:spcPct val="0"/>
            </a:spcBef>
            <a:spcAft>
              <a:spcPct val="15000"/>
            </a:spcAft>
            <a:buChar char="•"/>
          </a:pPr>
          <a:r>
            <a:rPr lang="en-US" sz="2000" b="0" kern="1200">
              <a:solidFill>
                <a:schemeClr val="tx1"/>
              </a:solidFill>
              <a:latin typeface="Calibri"/>
              <a:ea typeface="Calibri"/>
              <a:cs typeface="Calibri"/>
            </a:rPr>
            <a:t>Provide immigration attorney referral resources</a:t>
          </a:r>
        </a:p>
        <a:p>
          <a:pPr marL="228600" lvl="1" indent="-228600" algn="l" defTabSz="889000">
            <a:lnSpc>
              <a:spcPct val="90000"/>
            </a:lnSpc>
            <a:spcBef>
              <a:spcPct val="0"/>
            </a:spcBef>
            <a:spcAft>
              <a:spcPct val="15000"/>
            </a:spcAft>
            <a:buChar char="•"/>
          </a:pPr>
          <a:r>
            <a:rPr lang="en-US" sz="2000" b="0" kern="1200">
              <a:solidFill>
                <a:schemeClr val="tx1"/>
              </a:solidFill>
              <a:latin typeface="Calibri" panose="020F0502020204030204" pitchFamily="34" charset="0"/>
              <a:ea typeface="Calibri" panose="020F0502020204030204" pitchFamily="34" charset="0"/>
              <a:cs typeface="Calibri" panose="020F0502020204030204" pitchFamily="34" charset="0"/>
            </a:rPr>
            <a:t>School staff should alert school and district leadership</a:t>
          </a:r>
          <a:endParaRPr lang="en-US" sz="2000" b="0" kern="1200">
            <a:solidFill>
              <a:schemeClr val="tx1"/>
            </a:solidFill>
            <a:latin typeface="Calibri"/>
            <a:ea typeface="Calibri"/>
            <a:cs typeface="Calibri"/>
          </a:endParaRPr>
        </a:p>
      </dsp:txBody>
      <dsp:txXfrm>
        <a:off x="51" y="301702"/>
        <a:ext cx="4913783" cy="3478921"/>
      </dsp:txXfrm>
    </dsp:sp>
    <dsp:sp modelId="{9C6EF60A-314F-44F6-ABCA-278996C670F8}">
      <dsp:nvSpPr>
        <dsp:cNvPr id="0" name=""/>
        <dsp:cNvSpPr/>
      </dsp:nvSpPr>
      <dsp:spPr>
        <a:xfrm>
          <a:off x="5601814" y="0"/>
          <a:ext cx="4913783" cy="27916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i="1" kern="1200">
              <a:solidFill>
                <a:schemeClr val="bg1"/>
              </a:solidFill>
              <a:latin typeface="Calibri" panose="020F0502020204030204" pitchFamily="34" charset="0"/>
              <a:ea typeface="Calibri" panose="020F0502020204030204" pitchFamily="34" charset="0"/>
              <a:cs typeface="Calibri" panose="020F0502020204030204" pitchFamily="34" charset="0"/>
            </a:rPr>
            <a:t>Community-wide Considerations</a:t>
          </a:r>
          <a:endParaRPr lang="en-US" sz="2000" b="0" i="1" kern="1200">
            <a:solidFill>
              <a:schemeClr val="bg1"/>
            </a:solidFill>
            <a:latin typeface="Calibri" panose="020F0502020204030204" pitchFamily="34" charset="0"/>
            <a:ea typeface="Calibri" panose="020F0502020204030204" pitchFamily="34" charset="0"/>
            <a:cs typeface="Calibri" panose="020F0502020204030204" pitchFamily="34" charset="0"/>
          </a:endParaRPr>
        </a:p>
      </dsp:txBody>
      <dsp:txXfrm>
        <a:off x="5601814" y="0"/>
        <a:ext cx="4913783" cy="279167"/>
      </dsp:txXfrm>
    </dsp:sp>
    <dsp:sp modelId="{CB19725E-6D59-4221-9296-0DEC0AD637EB}">
      <dsp:nvSpPr>
        <dsp:cNvPr id="0" name=""/>
        <dsp:cNvSpPr/>
      </dsp:nvSpPr>
      <dsp:spPr>
        <a:xfrm>
          <a:off x="5601764" y="310783"/>
          <a:ext cx="4913783" cy="3478921"/>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kern="1200">
              <a:solidFill>
                <a:schemeClr val="tx1"/>
              </a:solidFill>
              <a:latin typeface="Calibri" panose="020F0502020204030204" pitchFamily="34" charset="0"/>
              <a:ea typeface="Calibri" panose="020F0502020204030204" pitchFamily="34" charset="0"/>
              <a:cs typeface="Calibri" panose="020F0502020204030204" pitchFamily="34" charset="0"/>
            </a:rPr>
            <a:t>Provide counseling and social work support to students indirectly impacted</a:t>
          </a:r>
        </a:p>
        <a:p>
          <a:pPr marL="228600" lvl="1" indent="-228600" algn="l" defTabSz="889000">
            <a:lnSpc>
              <a:spcPct val="90000"/>
            </a:lnSpc>
            <a:spcBef>
              <a:spcPct val="0"/>
            </a:spcBef>
            <a:spcAft>
              <a:spcPct val="15000"/>
            </a:spcAft>
            <a:buChar char="•"/>
          </a:pPr>
          <a:r>
            <a:rPr lang="en-US" sz="2000" b="0" kern="1200">
              <a:solidFill>
                <a:schemeClr val="tx1"/>
              </a:solidFill>
              <a:latin typeface="Calibri" panose="020F0502020204030204" pitchFamily="34" charset="0"/>
              <a:ea typeface="Calibri" panose="020F0502020204030204" pitchFamily="34" charset="0"/>
              <a:cs typeface="Calibri" panose="020F0502020204030204" pitchFamily="34" charset="0"/>
            </a:rPr>
            <a:t>Be prepared for possible outreach by media contacts—consider student privacy concerns</a:t>
          </a:r>
        </a:p>
        <a:p>
          <a:pPr marL="228600" lvl="1" indent="-228600" algn="l" defTabSz="889000">
            <a:lnSpc>
              <a:spcPct val="90000"/>
            </a:lnSpc>
            <a:spcBef>
              <a:spcPct val="0"/>
            </a:spcBef>
            <a:spcAft>
              <a:spcPct val="15000"/>
            </a:spcAft>
            <a:buChar char="•"/>
          </a:pPr>
          <a:r>
            <a:rPr lang="en-US" sz="2000" kern="1200">
              <a:latin typeface="Calibri" panose="020F0502020204030204" pitchFamily="34" charset="0"/>
              <a:ea typeface="Calibri" panose="020F0502020204030204" pitchFamily="34" charset="0"/>
              <a:cs typeface="Calibri" panose="020F0502020204030204" pitchFamily="34" charset="0"/>
            </a:rPr>
            <a:t>Contact the AGO or ORI if your district learns of a student who was detained</a:t>
          </a:r>
          <a:endParaRPr lang="en-US" sz="2000" b="0" kern="120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28600" lvl="1" indent="-228600" algn="l" defTabSz="889000" rtl="0">
            <a:lnSpc>
              <a:spcPct val="90000"/>
            </a:lnSpc>
            <a:spcBef>
              <a:spcPct val="0"/>
            </a:spcBef>
            <a:spcAft>
              <a:spcPct val="15000"/>
            </a:spcAft>
            <a:buFont typeface="Arial" panose="020B0604020202020204" pitchFamily="34" charset="0"/>
            <a:buChar char="•"/>
          </a:pPr>
          <a:r>
            <a:rPr lang="en-US" sz="2000" kern="1200">
              <a:latin typeface="Calibri"/>
              <a:ea typeface="Calibri"/>
              <a:cs typeface="Calibri"/>
            </a:rPr>
            <a:t>For those wishing to hold community events for assisting families left behind, email: </a:t>
          </a:r>
          <a:r>
            <a:rPr lang="en-US" sz="2000" b="0" u="none" kern="1200">
              <a:hlinkClick xmlns:r="http://schemas.openxmlformats.org/officeDocument/2006/relationships" r:id="rId1"/>
            </a:rPr>
            <a:t>Request a Community Meeting with ORI</a:t>
          </a:r>
          <a:endParaRPr lang="en-US" sz="2000" b="0" u="sng" kern="1200">
            <a:solidFill>
              <a:schemeClr val="tx1"/>
            </a:solidFill>
            <a:latin typeface="Calibri"/>
            <a:ea typeface="Calibri"/>
            <a:cs typeface="Calibri"/>
          </a:endParaRPr>
        </a:p>
      </dsp:txBody>
      <dsp:txXfrm>
        <a:off x="5601764" y="310783"/>
        <a:ext cx="4913783" cy="3478921"/>
      </dsp:txXfrm>
    </dsp:sp>
  </dsp:spTree>
</dsp:drawing>
</file>

<file path=ppt/diagrams/layout1.xml><?xml version="1.0" encoding="utf-8"?>
<dgm:layoutDef xmlns:dgm="http://schemas.openxmlformats.org/drawingml/2006/diagram" xmlns:a="http://schemas.openxmlformats.org/drawingml/2006/main" uniqueId="urn:microsoft.com/office/officeart/2016/7/layout/BasicProcessNew">
  <dgm:title val="Basic Process New"/>
  <dgm:desc val=""/>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fact="0.15"/>
      <dgm:constr type="h" for="ch" forName="sibTrans" op="equ"/>
    </dgm:constrLst>
    <dgm:ruleLst>
      <dgm:rule type="h" for="ch" forName="sibTrans" val="6.75" fact="NaN" max="NaN"/>
      <dgm:rule type="w" for="ch" forName="sibTrans" val="8.75" fact="NaN" max="NaN"/>
    </dgm:ruleLst>
    <dgm:forEach name="nodesForEach" axis="ch" ptType="node">
      <dgm:layoutNode name="node">
        <dgm:varLst>
          <dgm:bulletEnabled val="1"/>
        </dgm:varLst>
        <dgm:alg type="tx"/>
        <dgm:shape xmlns:r="http://schemas.openxmlformats.org/officeDocument/2006/relationships" type="rect" r:blip="">
          <dgm:adjLst>
            <dgm:adj idx="1" val="0.1"/>
          </dgm:adjLst>
        </dgm:shape>
        <dgm:presOf axis="desOrSelf" ptType="node"/>
        <dgm:constrLst>
          <dgm:constr type="h" refType="w" fact="0.6"/>
          <dgm:constr type="lMarg" val="12"/>
          <dgm:constr type="rMarg" val="12"/>
          <dgm:constr type="tMarg" val="12"/>
          <dgm:constr type="bMarg" val="12"/>
        </dgm:constrLst>
        <dgm:ruleLst>
          <dgm:rule type="primFontSz" val="11" fact="NaN" max="NaN"/>
          <dgm:rule type="primFontSz" val="18" fact="NaN" max="NaN"/>
          <dgm:rule type="h" val="NaN" fact="1.5" max="NaN"/>
          <dgm:rule type="primFontSz" val="11" fact="NaN" max="NaN"/>
          <dgm:rule type="h" val="INF" fact="NaN" max="NaN"/>
        </dgm:ruleLst>
      </dgm:layoutNode>
      <dgm:forEach name="sibTransForEach" axis="followSib" ptType="sibTrans" cnt="1">
        <dgm:layoutNode name="sibTransSpacerBeforeConnector" styleLbl="node1">
          <dgm:alg type="sp"/>
          <dgm:shape xmlns:r="http://schemas.openxmlformats.org/officeDocument/2006/relationships" r:blip="">
            <dgm:adjLst/>
          </dgm:shape>
          <dgm:constrLst>
            <dgm:constr type="w" val="4.5"/>
          </dgm:constrLst>
          <dgm:presOf/>
          <dgm:ruleLst>
            <dgm:rule type="w" val="4.5" fact="NaN" max="NaN"/>
          </dgm:ruleLst>
        </dgm:layoutNode>
        <dgm:layoutNode name="sibTrans" styleLbl="node1">
          <dgm:alg type="sp"/>
          <dgm:shape xmlns:r="http://schemas.openxmlformats.org/officeDocument/2006/relationships" type="rightArrow" r:blip="">
            <dgm:adjLst>
              <dgm:adj idx="1" val="0.5"/>
            </dgm:adjLst>
          </dgm:shape>
          <dgm:presOf axis="self"/>
          <dgm:constrLst>
            <dgm:constr type="h" val="6.75"/>
          </dgm:constrLst>
          <dgm:ruleLst>
            <dgm:rule type="h" val="6.75" fact="NaN" max="NaN"/>
            <dgm:rule type="w" val="8.75" fact="NaN" max="NaN"/>
          </dgm:ruleLst>
        </dgm:layoutNode>
        <dgm:layoutNode name="sibTransSpacerAfterConnector">
          <dgm:alg type="sp"/>
          <dgm:shape xmlns:r="http://schemas.openxmlformats.org/officeDocument/2006/relationships" r:blip="">
            <dgm:adjLst/>
          </dgm:shape>
          <dgm:constrLst>
            <dgm:constr type="w" val="4.5"/>
          </dgm:constrLst>
          <dgm:presOf/>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4033943" cy="352374"/>
          </a:xfrm>
          <a:prstGeom prst="rect">
            <a:avLst/>
          </a:prstGeom>
        </p:spPr>
        <p:txBody>
          <a:bodyPr vert="horz" lIns="80222" tIns="40112" rIns="80222" bIns="40112" rtlCol="0"/>
          <a:lstStyle>
            <a:lvl1pPr algn="l">
              <a:defRPr sz="1100"/>
            </a:lvl1pPr>
          </a:lstStyle>
          <a:p>
            <a:endParaRPr lang="en-US"/>
          </a:p>
        </p:txBody>
      </p:sp>
      <p:sp>
        <p:nvSpPr>
          <p:cNvPr id="3" name="Date Placeholder 2"/>
          <p:cNvSpPr>
            <a:spLocks noGrp="1"/>
          </p:cNvSpPr>
          <p:nvPr>
            <p:ph type="dt" idx="1"/>
          </p:nvPr>
        </p:nvSpPr>
        <p:spPr>
          <a:xfrm>
            <a:off x="5273004" y="4"/>
            <a:ext cx="4033943" cy="352374"/>
          </a:xfrm>
          <a:prstGeom prst="rect">
            <a:avLst/>
          </a:prstGeom>
        </p:spPr>
        <p:txBody>
          <a:bodyPr vert="horz" lIns="80222" tIns="40112" rIns="80222" bIns="40112" rtlCol="0"/>
          <a:lstStyle>
            <a:lvl1pPr algn="r">
              <a:defRPr sz="1100"/>
            </a:lvl1pPr>
          </a:lstStyle>
          <a:p>
            <a:fld id="{AAB89070-0BFF-4174-9B51-8A7B8537D771}" type="datetimeFigureOut">
              <a:rPr lang="en-US" smtClean="0"/>
              <a:t>10/27/2025</a:t>
            </a:fld>
            <a:endParaRPr lang="en-US"/>
          </a:p>
        </p:txBody>
      </p:sp>
      <p:sp>
        <p:nvSpPr>
          <p:cNvPr id="4" name="Slide Image Placeholder 3"/>
          <p:cNvSpPr>
            <a:spLocks noGrp="1" noRot="1" noChangeAspect="1"/>
          </p:cNvSpPr>
          <p:nvPr>
            <p:ph type="sldImg" idx="2"/>
          </p:nvPr>
        </p:nvSpPr>
        <p:spPr>
          <a:xfrm>
            <a:off x="2547938" y="877888"/>
            <a:ext cx="4213225" cy="2370137"/>
          </a:xfrm>
          <a:prstGeom prst="rect">
            <a:avLst/>
          </a:prstGeom>
          <a:noFill/>
          <a:ln w="12700">
            <a:solidFill>
              <a:prstClr val="black"/>
            </a:solidFill>
          </a:ln>
        </p:spPr>
        <p:txBody>
          <a:bodyPr vert="horz" lIns="80222" tIns="40112" rIns="80222" bIns="40112" rtlCol="0" anchor="ctr"/>
          <a:lstStyle/>
          <a:p>
            <a:endParaRPr lang="en-US"/>
          </a:p>
        </p:txBody>
      </p:sp>
      <p:sp>
        <p:nvSpPr>
          <p:cNvPr id="5" name="Notes Placeholder 4"/>
          <p:cNvSpPr>
            <a:spLocks noGrp="1"/>
          </p:cNvSpPr>
          <p:nvPr>
            <p:ph type="body" sz="quarter" idx="3"/>
          </p:nvPr>
        </p:nvSpPr>
        <p:spPr>
          <a:xfrm>
            <a:off x="930910" y="3379872"/>
            <a:ext cx="7447280" cy="2765346"/>
          </a:xfrm>
          <a:prstGeom prst="rect">
            <a:avLst/>
          </a:prstGeom>
        </p:spPr>
        <p:txBody>
          <a:bodyPr vert="horz" lIns="80222" tIns="40112" rIns="80222" bIns="4011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70729"/>
            <a:ext cx="4033943" cy="352373"/>
          </a:xfrm>
          <a:prstGeom prst="rect">
            <a:avLst/>
          </a:prstGeom>
        </p:spPr>
        <p:txBody>
          <a:bodyPr vert="horz" lIns="80222" tIns="40112" rIns="80222" bIns="40112" rtlCol="0" anchor="b"/>
          <a:lstStyle>
            <a:lvl1pPr algn="l">
              <a:defRPr sz="1100"/>
            </a:lvl1pPr>
          </a:lstStyle>
          <a:p>
            <a:endParaRPr lang="en-US"/>
          </a:p>
        </p:txBody>
      </p:sp>
      <p:sp>
        <p:nvSpPr>
          <p:cNvPr id="7" name="Slide Number Placeholder 6"/>
          <p:cNvSpPr>
            <a:spLocks noGrp="1"/>
          </p:cNvSpPr>
          <p:nvPr>
            <p:ph type="sldNum" sz="quarter" idx="5"/>
          </p:nvPr>
        </p:nvSpPr>
        <p:spPr>
          <a:xfrm>
            <a:off x="5273004" y="6670729"/>
            <a:ext cx="4033943" cy="352373"/>
          </a:xfrm>
          <a:prstGeom prst="rect">
            <a:avLst/>
          </a:prstGeom>
        </p:spPr>
        <p:txBody>
          <a:bodyPr vert="horz" lIns="80222" tIns="40112" rIns="80222" bIns="40112"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2.xml"/><Relationship Id="rId7"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8.xml"/><Relationship Id="rId7"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4.xml"/><Relationship Id="rId7" Type="http://schemas.openxmlformats.org/officeDocument/2006/relationships/oleObject" Target="../embeddings/oleObject2.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Master" Target="../slideMasters/slideMaster2.xml"/><Relationship Id="rId5" Type="http://schemas.openxmlformats.org/officeDocument/2006/relationships/tags" Target="../tags/tag86.xml"/><Relationship Id="rId10" Type="http://schemas.microsoft.com/office/2007/relationships/hdphoto" Target="../media/hdphoto1.wdp"/><Relationship Id="rId4" Type="http://schemas.openxmlformats.org/officeDocument/2006/relationships/tags" Target="../tags/tag85.xml"/><Relationship Id="rId9"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89.xml"/><Relationship Id="rId7"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95.xml"/><Relationship Id="rId7"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1.xml"/><Relationship Id="rId7"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07.xml"/><Relationship Id="rId7"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9.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image" Target="../media/image8.png"/><Relationship Id="rId5" Type="http://schemas.openxmlformats.org/officeDocument/2006/relationships/tags" Target="../tags/tag115.xml"/><Relationship Id="rId10" Type="http://schemas.openxmlformats.org/officeDocument/2006/relationships/image" Target="../media/image3.emf"/><Relationship Id="rId4" Type="http://schemas.openxmlformats.org/officeDocument/2006/relationships/tags" Target="../tags/tag114.xml"/><Relationship Id="rId9"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5.pn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8.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emf"/><Relationship Id="rId5" Type="http://schemas.openxmlformats.org/officeDocument/2006/relationships/tags" Target="../tags/tag122.xml"/><Relationship Id="rId10" Type="http://schemas.openxmlformats.org/officeDocument/2006/relationships/oleObject" Target="../embeddings/oleObject9.bin"/><Relationship Id="rId4" Type="http://schemas.openxmlformats.org/officeDocument/2006/relationships/tags" Target="../tags/tag121.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xml"/><Relationship Id="rId7" Type="http://schemas.openxmlformats.org/officeDocument/2006/relationships/oleObject" Target="../embeddings/oleObject2.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5.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8.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emf"/><Relationship Id="rId5" Type="http://schemas.openxmlformats.org/officeDocument/2006/relationships/tags" Target="../tags/tag130.xml"/><Relationship Id="rId10" Type="http://schemas.openxmlformats.org/officeDocument/2006/relationships/oleObject" Target="../embeddings/oleObject10.bin"/><Relationship Id="rId4" Type="http://schemas.openxmlformats.org/officeDocument/2006/relationships/tags" Target="../tags/tag129.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8.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11.bin"/><Relationship Id="rId4" Type="http://schemas.openxmlformats.org/officeDocument/2006/relationships/tags" Target="../tags/tag137.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5.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8.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0.emf"/><Relationship Id="rId5" Type="http://schemas.openxmlformats.org/officeDocument/2006/relationships/tags" Target="../tags/tag146.xml"/><Relationship Id="rId10" Type="http://schemas.openxmlformats.org/officeDocument/2006/relationships/oleObject" Target="../embeddings/oleObject12.bin"/><Relationship Id="rId4" Type="http://schemas.openxmlformats.org/officeDocument/2006/relationships/tags" Target="../tags/tag145.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1.emf"/><Relationship Id="rId5" Type="http://schemas.openxmlformats.org/officeDocument/2006/relationships/tags" Target="../tags/tag154.xml"/><Relationship Id="rId10" Type="http://schemas.openxmlformats.org/officeDocument/2006/relationships/oleObject" Target="../embeddings/oleObject13.bin"/><Relationship Id="rId4" Type="http://schemas.openxmlformats.org/officeDocument/2006/relationships/tags" Target="../tags/tag153.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0.xml"/><Relationship Id="rId7"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5.png"/><Relationship Id="rId4" Type="http://schemas.openxmlformats.org/officeDocument/2006/relationships/tags" Target="../tags/tag161.xml"/><Relationship Id="rId9"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6.xml"/><Relationship Id="rId7" Type="http://schemas.openxmlformats.org/officeDocument/2006/relationships/image" Target="../media/image3.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67.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tags" Target="../tags/tag183.xml"/><Relationship Id="rId2" Type="http://schemas.openxmlformats.org/officeDocument/2006/relationships/tags" Target="../tags/tag173.xml"/><Relationship Id="rId16" Type="http://schemas.openxmlformats.org/officeDocument/2006/relationships/image" Target="../media/image1.emf"/><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oleObject" Target="../embeddings/oleObject17.bin"/><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image" Target="../media/image1.emf"/><Relationship Id="rId4" Type="http://schemas.openxmlformats.org/officeDocument/2006/relationships/tags" Target="../tags/tag188.xml"/><Relationship Id="rId9"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1.emf"/><Relationship Id="rId4" Type="http://schemas.openxmlformats.org/officeDocument/2006/relationships/tags" Target="../tags/tag195.xml"/><Relationship Id="rId9"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0.xml"/><Relationship Id="rId7" Type="http://schemas.openxmlformats.org/officeDocument/2006/relationships/oleObject" Target="../embeddings/oleObject2.bin"/><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slideMaster" Target="../slideMasters/slideMaster3.xml"/><Relationship Id="rId5" Type="http://schemas.openxmlformats.org/officeDocument/2006/relationships/tags" Target="../tags/tag222.xml"/><Relationship Id="rId10" Type="http://schemas.openxmlformats.org/officeDocument/2006/relationships/image" Target="../media/image5.png"/><Relationship Id="rId4" Type="http://schemas.openxmlformats.org/officeDocument/2006/relationships/tags" Target="../tags/tag221.xml"/><Relationship Id="rId9"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5.xml"/><Relationship Id="rId7" Type="http://schemas.openxmlformats.org/officeDocument/2006/relationships/oleObject" Target="../embeddings/oleObject2.bin"/><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slideMaster" Target="../slideMasters/slideMaster3.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emf"/><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3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emf"/><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3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39.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4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5.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49.xml"/><Relationship Id="rId7"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52.xml"/><Relationship Id="rId5" Type="http://schemas.openxmlformats.org/officeDocument/2006/relationships/tags" Target="../tags/tag251.xml"/><Relationship Id="rId4" Type="http://schemas.openxmlformats.org/officeDocument/2006/relationships/tags" Target="../tags/tag250.xml"/><Relationship Id="rId9"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4.xml"/><Relationship Id="rId7" Type="http://schemas.openxmlformats.org/officeDocument/2006/relationships/oleObject" Target="../embeddings/oleObject2.bin"/><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slideMaster" Target="../slideMasters/slideMaster4.xml"/><Relationship Id="rId5" Type="http://schemas.openxmlformats.org/officeDocument/2006/relationships/tags" Target="../tags/tag276.xml"/><Relationship Id="rId10" Type="http://schemas.openxmlformats.org/officeDocument/2006/relationships/image" Target="../media/image5.png"/><Relationship Id="rId4" Type="http://schemas.openxmlformats.org/officeDocument/2006/relationships/tags" Target="../tags/tag275.xml"/><Relationship Id="rId9"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9.xml"/><Relationship Id="rId7" Type="http://schemas.openxmlformats.org/officeDocument/2006/relationships/oleObject" Target="../embeddings/oleObject2.bin"/><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slideMaster" Target="../slideMasters/slideMaster4.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84.xml"/><Relationship Id="rId7"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8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1.emf"/><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89.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1.emf"/><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9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96.xml"/><Relationship Id="rId7" Type="http://schemas.openxmlformats.org/officeDocument/2006/relationships/image" Target="../media/image1.emf"/><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97.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5.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2.xml"/><Relationship Id="rId7" Type="http://schemas.openxmlformats.org/officeDocument/2006/relationships/oleObject" Target="../embeddings/oleObject2.bin"/><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slideMaster" Target="../slideMasters/slideMaster5.xml"/><Relationship Id="rId5" Type="http://schemas.openxmlformats.org/officeDocument/2006/relationships/tags" Target="../tags/tag324.xml"/><Relationship Id="rId10" Type="http://schemas.openxmlformats.org/officeDocument/2006/relationships/image" Target="../media/image5.png"/><Relationship Id="rId4" Type="http://schemas.openxmlformats.org/officeDocument/2006/relationships/tags" Target="../tags/tag323.xml"/><Relationship Id="rId9"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7.xml"/><Relationship Id="rId7" Type="http://schemas.openxmlformats.org/officeDocument/2006/relationships/oleObject" Target="../embeddings/oleObject2.bin"/><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slideMaster" Target="../slideMasters/slideMaster5.xml"/><Relationship Id="rId5" Type="http://schemas.openxmlformats.org/officeDocument/2006/relationships/tags" Target="../tags/tag329.xml"/><Relationship Id="rId4" Type="http://schemas.openxmlformats.org/officeDocument/2006/relationships/tags" Target="../tags/tag328.xml"/><Relationship Id="rId9"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3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1.emf"/><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3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1.emf"/><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4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emf"/><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45.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5.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51.xml"/><Relationship Id="rId7" Type="http://schemas.openxmlformats.org/officeDocument/2006/relationships/slideMaster" Target="../slideMasters/slideMaster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76.xml"/><Relationship Id="rId7" Type="http://schemas.openxmlformats.org/officeDocument/2006/relationships/oleObject" Target="../embeddings/oleObject2.bin"/><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slideMaster" Target="../slideMasters/slideMaster6.xml"/><Relationship Id="rId5" Type="http://schemas.openxmlformats.org/officeDocument/2006/relationships/tags" Target="../tags/tag378.xml"/><Relationship Id="rId10" Type="http://schemas.openxmlformats.org/officeDocument/2006/relationships/image" Target="../media/image5.png"/><Relationship Id="rId4" Type="http://schemas.openxmlformats.org/officeDocument/2006/relationships/tags" Target="../tags/tag377.xml"/><Relationship Id="rId9"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1.xml"/><Relationship Id="rId7" Type="http://schemas.openxmlformats.org/officeDocument/2006/relationships/oleObject" Target="../embeddings/oleObject2.bin"/><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slideMaster" Target="../slideMasters/slideMaster6.xml"/><Relationship Id="rId5" Type="http://schemas.openxmlformats.org/officeDocument/2006/relationships/tags" Target="../tags/tag383.xml"/><Relationship Id="rId4" Type="http://schemas.openxmlformats.org/officeDocument/2006/relationships/tags" Target="../tags/tag382.xml"/><Relationship Id="rId9"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1.emf"/><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8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1.emf"/><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91.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94.xml"/><Relationship Id="rId7" Type="http://schemas.openxmlformats.org/officeDocument/2006/relationships/image" Target="../media/image1.emf"/><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9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emf"/><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99.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02.xml"/><Relationship Id="rId7" Type="http://schemas.openxmlformats.org/officeDocument/2006/relationships/image" Target="../media/image5.png"/><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8B3260-D7C2-AAD5-EBA6-77A7F25A16F2}"/>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4">
            <a:extLst>
              <a:ext uri="{FF2B5EF4-FFF2-40B4-BE49-F238E27FC236}">
                <a16:creationId xmlns:a16="http://schemas.microsoft.com/office/drawing/2014/main" id="{E6DA1D4D-C937-74FC-CB6F-2C83DBF34ECD}"/>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8" name="Picture 7" descr="A picture containing emblem, symbol, logo, text&#10;&#10;Description automatically generated">
            <a:extLst>
              <a:ext uri="{FF2B5EF4-FFF2-40B4-BE49-F238E27FC236}">
                <a16:creationId xmlns:a16="http://schemas.microsoft.com/office/drawing/2014/main" id="{B97C1981-B491-FFEE-A683-4D1F22F89F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3" name="Footer Placeholder 2">
            <a:extLst>
              <a:ext uri="{FF2B5EF4-FFF2-40B4-BE49-F238E27FC236}">
                <a16:creationId xmlns:a16="http://schemas.microsoft.com/office/drawing/2014/main" id="{E5326D54-9F38-41B7-B903-1F96D0B66DF9}"/>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14" name="Slide Number Placeholder 3">
            <a:extLst>
              <a:ext uri="{FF2B5EF4-FFF2-40B4-BE49-F238E27FC236}">
                <a16:creationId xmlns:a16="http://schemas.microsoft.com/office/drawing/2014/main" id="{8066CB45-6057-9E9A-451D-1FCA957DA432}"/>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2" name="TextBox 1">
            <a:extLst>
              <a:ext uri="{FF2B5EF4-FFF2-40B4-BE49-F238E27FC236}">
                <a16:creationId xmlns:a16="http://schemas.microsoft.com/office/drawing/2014/main" id="{DFA6E9FD-D442-629F-AFB9-19B9F7EB0FC6}"/>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23710303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2611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4168602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1667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D457990-7994-46E9-A2E2-C8912830E910}"/>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6000"/>
                    </a14:imgEffect>
                  </a14:imgLayer>
                </a14:imgProps>
              </a:ext>
            </a:extLst>
          </a:blip>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2308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4140790"/>
            <a:ext cx="6173979" cy="5078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1DBA015F-ACE8-453D-88B7-B7AB27B31C12}"/>
              </a:ext>
            </a:extLst>
          </p:cNvPr>
          <p:cNvSpPr/>
          <p:nvPr userDrawn="1"/>
        </p:nvSpPr>
        <p:spPr>
          <a:xfrm>
            <a:off x="20375" y="6642556"/>
            <a:ext cx="7234827" cy="184666"/>
          </a:xfrm>
          <a:prstGeom prst="rect">
            <a:avLst/>
          </a:prstGeom>
        </p:spPr>
        <p:txBody>
          <a:bodyPr wrap="square">
            <a:spAutoFit/>
          </a:bodyPr>
          <a:lstStyle/>
          <a:p>
            <a:pPr algn="ctr"/>
            <a:r>
              <a:rPr lang="en-US" sz="800">
                <a:solidFill>
                  <a:schemeClr val="tx1"/>
                </a:solidFill>
                <a:effectLst/>
                <a:latin typeface="+mn-lt"/>
              </a:rPr>
              <a:t>CONFIDENTIAL AND PROPRIETARY. ANY USE OF THIS MATERIAL WITHOUT SPECIFIC PERMISSION OF THE OWNER IS STRICTLY PROHIBITED.</a:t>
            </a:r>
          </a:p>
        </p:txBody>
      </p:sp>
    </p:spTree>
    <p:extLst>
      <p:ext uri="{BB962C8B-B14F-4D97-AF65-F5344CB8AC3E}">
        <p14:creationId xmlns:p14="http://schemas.microsoft.com/office/powerpoint/2010/main" val="39878859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00875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1395973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58545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solidFill>
                  <a:schemeClr val="accent1"/>
                </a:solidFill>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21104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56870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chemeClr val="accent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12952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36499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E502649F-727C-43E0-A093-71810F62A7ED}"/>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15" name="Freeform 58">
            <a:extLst>
              <a:ext uri="{FF2B5EF4-FFF2-40B4-BE49-F238E27FC236}">
                <a16:creationId xmlns:a16="http://schemas.microsoft.com/office/drawing/2014/main" id="{2B93DF85-815D-4634-B543-414FA330817E}"/>
              </a:ext>
            </a:extLst>
          </p:cNvPr>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F497D"/>
          </a:solidFill>
          <a:ln w="25400" cap="flat" cmpd="sng" algn="ctr">
            <a:solidFill>
              <a:srgbClr val="1F497D"/>
            </a:solid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alibri"/>
              <a:sym typeface="+mn-lt"/>
            </a:endParaRPr>
          </a:p>
        </p:txBody>
      </p:sp>
      <p:pic>
        <p:nvPicPr>
          <p:cNvPr id="16" name="Picture 2" descr="Image result for massachusetts seal">
            <a:extLst>
              <a:ext uri="{FF2B5EF4-FFF2-40B4-BE49-F238E27FC236}">
                <a16:creationId xmlns:a16="http://schemas.microsoft.com/office/drawing/2014/main" id="{9EBE0CB3-83A8-4233-B8F5-8E211365821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5946"/>
            <a:ext cx="9180576" cy="383503"/>
          </a:xfrm>
          <a:prstGeom prst="rect">
            <a:avLst/>
          </a:prstGeom>
        </p:spPr>
        <p:txBody>
          <a:bodyPr vert="horz" wrap="square">
            <a:spAutoFit/>
          </a:bodyPr>
          <a:lstStyle>
            <a:lvl1pPr>
              <a:lnSpc>
                <a:spcPct val="105000"/>
              </a:lnSpc>
              <a:defRPr sz="3400">
                <a:solidFill>
                  <a:schemeClr val="bg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BE16D8DA-CC2E-42D7-8564-1BE976427B37}"/>
              </a:ext>
            </a:extLst>
          </p:cNvPr>
          <p:cNvSpPr/>
          <p:nvPr userDrawn="1"/>
        </p:nvSpPr>
        <p:spPr>
          <a:xfrm>
            <a:off x="554736" y="6561153"/>
            <a:ext cx="11070845"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endParaRPr lang="en-US" sz="1050">
              <a:effectLst/>
              <a:latin typeface="+mj-lt"/>
            </a:endParaRPr>
          </a:p>
        </p:txBody>
      </p:sp>
    </p:spTree>
    <p:extLst>
      <p:ext uri="{BB962C8B-B14F-4D97-AF65-F5344CB8AC3E}">
        <p14:creationId xmlns:p14="http://schemas.microsoft.com/office/powerpoint/2010/main" val="3504588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0965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20774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05DE843-2236-413E-AF8A-D5BF00A7117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2997824" y="0"/>
            <a:ext cx="416951" cy="6858000"/>
          </a:xfrm>
          <a:prstGeom prst="rect">
            <a:avLst/>
          </a:prstGeom>
        </p:spPr>
      </p:pic>
      <p:pic>
        <p:nvPicPr>
          <p:cNvPr id="13" name="Picture 2" descr="Seal of Massachusetts - Wikipedia">
            <a:extLst>
              <a:ext uri="{FF2B5EF4-FFF2-40B4-BE49-F238E27FC236}">
                <a16:creationId xmlns:a16="http://schemas.microsoft.com/office/drawing/2014/main" id="{553D9C71-F318-4FBA-BB78-756F8BF70FCE}"/>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9065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7565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0774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5028C82-A40A-479E-A5AD-CFE48F69ABBC}"/>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3947783" y="0"/>
            <a:ext cx="416951" cy="6858000"/>
          </a:xfrm>
          <a:prstGeom prst="rect">
            <a:avLst/>
          </a:prstGeom>
        </p:spPr>
      </p:pic>
      <p:pic>
        <p:nvPicPr>
          <p:cNvPr id="12" name="Picture 2" descr="Seal of Massachusetts - Wikipedia">
            <a:extLst>
              <a:ext uri="{FF2B5EF4-FFF2-40B4-BE49-F238E27FC236}">
                <a16:creationId xmlns:a16="http://schemas.microsoft.com/office/drawing/2014/main" id="{3F42AA54-CF29-40CB-AACC-23986B71AB89}"/>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5691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41788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F6A9849-7C4F-4C89-8760-17A14733BC87}"/>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5676001" y="0"/>
            <a:ext cx="416951" cy="6858000"/>
          </a:xfrm>
          <a:prstGeom prst="rect">
            <a:avLst/>
          </a:prstGeom>
        </p:spPr>
      </p:pic>
      <p:pic>
        <p:nvPicPr>
          <p:cNvPr id="12" name="Picture 2" descr="Seal of Massachusetts - Wikipedia">
            <a:extLst>
              <a:ext uri="{FF2B5EF4-FFF2-40B4-BE49-F238E27FC236}">
                <a16:creationId xmlns:a16="http://schemas.microsoft.com/office/drawing/2014/main" id="{56136504-1778-41D1-B0C3-86111FD13874}"/>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3A63799-CD6C-420E-B8AA-A9A5E16D100F}"/>
              </a:ext>
            </a:extLst>
          </p:cNvPr>
          <p:cNvSpPr/>
          <p:nvPr userDrawn="1"/>
        </p:nvSpPr>
        <p:spPr>
          <a:xfrm>
            <a:off x="1066032" y="6562677"/>
            <a:ext cx="10470156"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27222729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1748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a:defRPr>
                <a:solidFill>
                  <a:schemeClr val="accent1"/>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63A38938-A8A3-434F-AAE4-30FD188BFAB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7413361" y="0"/>
            <a:ext cx="416951" cy="6858000"/>
          </a:xfrm>
          <a:prstGeom prst="rect">
            <a:avLst/>
          </a:prstGeom>
        </p:spPr>
      </p:pic>
      <p:pic>
        <p:nvPicPr>
          <p:cNvPr id="12" name="Picture 2" descr="Seal of Massachusetts - Wikipedia">
            <a:extLst>
              <a:ext uri="{FF2B5EF4-FFF2-40B4-BE49-F238E27FC236}">
                <a16:creationId xmlns:a16="http://schemas.microsoft.com/office/drawing/2014/main" id="{8BB4D08D-2DA2-432D-A2E7-743E65963880}"/>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83CDB49-4503-414E-9AB8-817699840778}"/>
              </a:ext>
            </a:extLst>
          </p:cNvPr>
          <p:cNvSpPr/>
          <p:nvPr userDrawn="1"/>
        </p:nvSpPr>
        <p:spPr>
          <a:xfrm>
            <a:off x="287087" y="6367948"/>
            <a:ext cx="7151256"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28106057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7982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noProof="0">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4"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5C5EB99D-E81E-49A7-BDD7-746B7E0DEA1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8364465" y="0"/>
            <a:ext cx="416951" cy="6858000"/>
          </a:xfrm>
          <a:prstGeom prst="rect">
            <a:avLst/>
          </a:prstGeom>
        </p:spPr>
      </p:pic>
      <p:pic>
        <p:nvPicPr>
          <p:cNvPr id="12" name="Picture 2" descr="Seal of Massachusetts - Wikipedia">
            <a:extLst>
              <a:ext uri="{FF2B5EF4-FFF2-40B4-BE49-F238E27FC236}">
                <a16:creationId xmlns:a16="http://schemas.microsoft.com/office/drawing/2014/main" id="{A155DBAC-AC86-498D-8B75-4B99A1A0FA19}"/>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700975C-A254-4788-A3B1-F15069A16750}"/>
              </a:ext>
            </a:extLst>
          </p:cNvPr>
          <p:cNvSpPr/>
          <p:nvPr userDrawn="1"/>
        </p:nvSpPr>
        <p:spPr>
          <a:xfrm>
            <a:off x="571780" y="6367948"/>
            <a:ext cx="7866382"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23565848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025073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653E666-EEA8-43FC-AD86-8FF6546D3986}"/>
              </a:ext>
            </a:extLst>
          </p:cNvPr>
          <p:cNvSpPr/>
          <p:nvPr userDrawn="1"/>
        </p:nvSpPr>
        <p:spPr>
          <a:xfrm>
            <a:off x="0" y="0"/>
            <a:ext cx="12192000" cy="1259840"/>
          </a:xfrm>
          <a:prstGeom prst="rect">
            <a:avLst/>
          </a:prstGeom>
          <a:solidFill>
            <a:srgbClr val="1F497D"/>
          </a:solidFill>
          <a:ln w="25400"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2" name="Picture 2" descr="Seal of Massachusetts - Wikipedia">
            <a:extLst>
              <a:ext uri="{FF2B5EF4-FFF2-40B4-BE49-F238E27FC236}">
                <a16:creationId xmlns:a16="http://schemas.microsoft.com/office/drawing/2014/main" id="{A79E1297-42AC-4293-AC6B-BB117F55A3C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1355168" y="288927"/>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0602418" cy="989512"/>
          </a:xfrm>
        </p:spPr>
        <p:txBody>
          <a:bodyPr vert="horz">
            <a:noAutofit/>
          </a:bodyPr>
          <a:lstStyle>
            <a:lvl1pPr>
              <a:defRPr>
                <a:solidFill>
                  <a:schemeClr val="bg1"/>
                </a:solidFill>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F4682B5F-AD73-4D79-9BA1-60B78C4071CA}"/>
              </a:ext>
            </a:extLst>
          </p:cNvPr>
          <p:cNvSpPr/>
          <p:nvPr userDrawn="1"/>
        </p:nvSpPr>
        <p:spPr>
          <a:xfrm>
            <a:off x="826550" y="6465557"/>
            <a:ext cx="10470154"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4368305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0160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82C81A7-B91D-4BD2-997B-7374BBF1A00A}"/>
              </a:ext>
            </a:extLst>
          </p:cNvPr>
          <p:cNvSpPr/>
          <p:nvPr userDrawn="1"/>
        </p:nvSpPr>
        <p:spPr>
          <a:xfrm>
            <a:off x="1302466" y="6454458"/>
            <a:ext cx="9518322"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36848510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23690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A8DEF01-49B9-4334-B0B8-CE3E10A23EE1}"/>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TextBox 9">
            <a:extLst>
              <a:ext uri="{FF2B5EF4-FFF2-40B4-BE49-F238E27FC236}">
                <a16:creationId xmlns:a16="http://schemas.microsoft.com/office/drawing/2014/main" id="{4E5843A8-0E84-4C83-BAEB-E982AF657EF2}"/>
              </a:ext>
            </a:extLst>
          </p:cNvPr>
          <p:cNvSpPr txBox="1"/>
          <p:nvPr userDrawn="1"/>
        </p:nvSpPr>
        <p:spPr>
          <a:xfrm>
            <a:off x="554735" y="568851"/>
            <a:ext cx="4064000" cy="4154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3600">
                <a:solidFill>
                  <a:schemeClr val="bg2"/>
                </a:solidFill>
              </a:rPr>
              <a:t>Thank you</a:t>
            </a:r>
          </a:p>
        </p:txBody>
      </p:sp>
      <p:sp>
        <p:nvSpPr>
          <p:cNvPr id="7" name="Rectangle 6">
            <a:extLst>
              <a:ext uri="{FF2B5EF4-FFF2-40B4-BE49-F238E27FC236}">
                <a16:creationId xmlns:a16="http://schemas.microsoft.com/office/drawing/2014/main" id="{21C02818-F54A-4D86-92A2-F69F0EE2C40F}"/>
              </a:ext>
            </a:extLst>
          </p:cNvPr>
          <p:cNvSpPr/>
          <p:nvPr userDrawn="1"/>
        </p:nvSpPr>
        <p:spPr>
          <a:xfrm>
            <a:off x="4438141" y="6211669"/>
            <a:ext cx="4248659" cy="507831"/>
          </a:xfrm>
          <a:prstGeom prst="rect">
            <a:avLst/>
          </a:prstGeom>
        </p:spPr>
        <p:txBody>
          <a:bodyPr wrap="square">
            <a:spAutoFit/>
          </a:bodyPr>
          <a:lstStyle/>
          <a:p>
            <a:r>
              <a:rPr lang="en-US" sz="1200">
                <a:solidFill>
                  <a:schemeClr val="tx2"/>
                </a:solidFill>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30075669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33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20774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2348980"/>
            <a:ext cx="7942686" cy="369332"/>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71124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76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1"/>
            </p:custDataLst>
          </p:nvPr>
        </p:nvSpPr>
        <p:spPr>
          <a:xfrm>
            <a:off x="7159752" y="94157"/>
            <a:ext cx="4480560" cy="92333"/>
          </a:xfrm>
        </p:spPr>
        <p:txBody>
          <a:bodyPr wrap="square"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2"/>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3"/>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3916915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8963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94157"/>
            <a:ext cx="4480560" cy="92333"/>
          </a:xfrm>
        </p:spPr>
        <p:txBody>
          <a:bodyPr wrap="square"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607645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5762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7"/>
            </p:custDataLst>
          </p:nvPr>
        </p:nvSpPr>
        <p:spPr>
          <a:xfrm>
            <a:off x="7156704" y="104708"/>
            <a:ext cx="4480560" cy="92333"/>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496566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C66FF9-0EBE-4712-A107-7C736776C0EF}" type="slidenum">
              <a:rPr lang="en-US" smtClean="0"/>
              <a:t>‹#›</a:t>
            </a:fld>
            <a:endParaRPr lang="en-US"/>
          </a:p>
        </p:txBody>
      </p:sp>
    </p:spTree>
    <p:extLst>
      <p:ext uri="{BB962C8B-B14F-4D97-AF65-F5344CB8AC3E}">
        <p14:creationId xmlns:p14="http://schemas.microsoft.com/office/powerpoint/2010/main" val="41391904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5413826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591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314379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705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21959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075699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712049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46476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700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3617399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96717-B81C-71FC-153A-88BA1FFA14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E46EE6-8DC4-2390-F53E-A02F48CB35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683449-D6C0-AC83-861A-8D1466C68DD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AC8EFC-5931-C47B-7089-20FCCF397986}"/>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D17E4A71-FD3A-71B8-4D8E-306A3CBB436F}"/>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27311624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829489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596"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13273" y="1000662"/>
            <a:ext cx="0" cy="4873925"/>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8526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08738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481197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12102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932582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8654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36959854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447986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3080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867930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4204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266929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457139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185718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371969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4111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3430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uly ">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4297553A-1FAA-308D-A08D-417A8B25827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B3E6B342-1BF1-8B66-C709-2A6EDF3C0630}"/>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A31B322-EBD6-1B49-08C6-B6B7C412F0F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6A9CBE06-300C-2F5F-2D71-AFDF6CA5EC7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89B02C4F-E815-FE97-AA36-557F6679868E}"/>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CBB198E9-7F3D-D817-8BEA-935961CDA921}"/>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9DA29E8-B176-5686-C89E-79AE79327126}"/>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9AD1A270-CD0B-273B-EEFC-CBA71C95993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6CE0EAD4-B343-4409-BFFF-B511CA7A5122}"/>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D37653EC-C7A1-8414-1449-CBD18E2D90BE}"/>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C206D3C-6975-503A-5A6C-E66AC9B2383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6AC0B56-614E-C447-DEED-64F69EB452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670CCB0A-9268-2C56-A74C-98A469B9BA7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8323FC67-BA61-BDFB-08F0-39EA3948615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F7BA4904-9E3A-112B-5BBE-E771C723F02B}"/>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C532AD1A-F2F5-A878-272D-9D6A2364726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5ABDE29A-A698-5444-EA80-C52BD9DC7D6F}"/>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EA20E90-0A62-DC46-D1CC-8469C4339DA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4B2B121-B4DA-BA5C-666E-7517506F601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E96241E1-1A99-7CE8-DB18-157B533C4534}"/>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7CFD6B81-C9F8-63CE-B6A3-233C24E0B2B6}"/>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8E12CE13-43A8-9439-DA67-BCC57C76B852}"/>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A358F5E5-719A-15E5-D969-7AB1254CB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68E0AE80-E749-F100-72EA-52ACAF71DF2F}"/>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ED01CE71-F5D9-86C9-7DC5-E2966B5621BB}"/>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B37090ED-C1B0-3DD3-C56E-8B3EA32C1D9C}"/>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EFB7F00-9190-0E78-C5E0-40B727216D9F}"/>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A4E651F4-0762-EC8B-6EC0-0694E0B63B3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936E1553-2E4A-8727-C684-BFA15AF4776A}"/>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72A245CC-3F9E-9F62-64A1-4F4B4AB36179}"/>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EB4FE517-8212-BC60-AAA9-EB0BE0242EA4}"/>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DB081B09-D3EF-94DD-DCF1-FB7AA9E8707B}"/>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B127F26-EAF8-3788-EA29-18E7539DA8B8}"/>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B45C9D4-F0CE-91C5-49EB-1DEA5695368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B5476F73-AB8B-A39A-8026-8042652F501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A3A8CF61-EEF4-8C57-F837-F623A44ECBEB}"/>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14C2D7A6-3248-6EA6-A3F1-218EF010F11B}"/>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EE495DC4-7BDB-4380-996E-04DD17A2D5E4}"/>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B68C71D-961A-D782-7E54-7034328D61A9}"/>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506A6ABC-05D4-0076-A0CA-03160D3DCAAB}"/>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9F42F0-E36F-D27E-30AE-7A305A28623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75478D05-F491-D8DD-BE67-17E8BB24BDB9}"/>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A6AECCA9-AF4A-B1B7-29A0-EA69A7E40E82}"/>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78DC0064-B407-9D51-8C76-7BF1794B2766}"/>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13AC2618-0544-C79D-5E8D-02CA3BE6F8B1}"/>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BECE144-F4F4-E27E-EF82-A377D69E33FE}"/>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F24AD8EC-B5A9-6B84-2A55-6CD1D3CC622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BD25FCB-F4AD-92F7-4823-81157B715A0B}"/>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99D700D4-52B7-A484-3FB8-9A20ABD28829}"/>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1370AA38-B305-2C9B-B03B-E097B2FB18D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B2F0C684-D314-DF5E-B143-4BC38C938E52}"/>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9E4DBA66-2DEA-E3F4-D0E2-23870F9C8E1D}"/>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33B9AF83-92D4-252F-7EA7-10BB9428442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DC0A7E59-C698-4295-7322-5AD2EB2BA58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35B3A78F-6797-7C71-08F4-3764183BBA38}"/>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0B302895-3BB4-311C-9A35-DB437C9E476F}"/>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D3A5B1B0-8D96-4200-A7F0-9AEBD9A5CB6C}"/>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3DA23A45-4A20-B304-DF0D-DB7678CD013A}"/>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2DA9A7EB-2A0E-0D1F-B540-2E7D5FF872F9}"/>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6FDA01C5-E968-8D71-963E-60A24013B85D}"/>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31925EBC-73BC-5E27-ABEF-8526642180B2}"/>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77E89166-3D0F-D8C6-4B28-983FA3F534D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69A977C7-BABE-D68D-5B99-7D7E3D9907FC}"/>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12B4B6A6-D5C2-DDAE-D588-1E129525B1CC}"/>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AFDAD857-1D1B-7098-9882-EB2AA5DDEE1F}"/>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1467748A-CCAF-EFE5-8618-4E2A5DEB52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4E21924-33AF-43D9-0067-D034E6757CE7}"/>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5079BC17-A6BD-E41D-C9FA-2413240AB93E}"/>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FABE390-B6BF-B169-348B-EB555788EFA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F024612-D70B-C6D2-182D-BE4753839767}"/>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B979B3EC-1BDD-ECF6-8581-56AFA89AFC14}"/>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86B1F8B7-3F93-BD97-A7E3-7CF500BCE3E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32013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June">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9" name="Text Placeholder 21">
            <a:extLst>
              <a:ext uri="{FF2B5EF4-FFF2-40B4-BE49-F238E27FC236}">
                <a16:creationId xmlns:a16="http://schemas.microsoft.com/office/drawing/2014/main" id="{37D0995D-3B02-3150-DC6B-7897CFEF4248}"/>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23C4F2A7-B1C9-D57D-9A39-DF0C36A14CF3}"/>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897080C-562E-9F9E-A606-225AA7567EF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EC664A28-F8B6-562D-7C7F-6DB553994584}"/>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1">
            <a:extLst>
              <a:ext uri="{FF2B5EF4-FFF2-40B4-BE49-F238E27FC236}">
                <a16:creationId xmlns:a16="http://schemas.microsoft.com/office/drawing/2014/main" id="{26BD7907-C97F-C217-A2F3-2F7071457222}"/>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1" name="Text Placeholder 21">
            <a:extLst>
              <a:ext uri="{FF2B5EF4-FFF2-40B4-BE49-F238E27FC236}">
                <a16:creationId xmlns:a16="http://schemas.microsoft.com/office/drawing/2014/main" id="{CFB3B4C2-3955-9DF4-FBA1-EA35BC585B88}"/>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5" name="Text Placeholder 2">
            <a:extLst>
              <a:ext uri="{FF2B5EF4-FFF2-40B4-BE49-F238E27FC236}">
                <a16:creationId xmlns:a16="http://schemas.microsoft.com/office/drawing/2014/main" id="{2BE1D4A2-7D86-033F-E193-C4E0AABEE4BD}"/>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9D784FD8-239A-81A2-1761-5AA9FC591EF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3A09D521-8365-C996-9F16-FEB3A87AD55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8FDC2ACE-7212-BECB-6C62-4A83695D22FC}"/>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B8523333-3C57-1D13-2D69-C222ADCC8944}"/>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
            <a:extLst>
              <a:ext uri="{FF2B5EF4-FFF2-40B4-BE49-F238E27FC236}">
                <a16:creationId xmlns:a16="http://schemas.microsoft.com/office/drawing/2014/main" id="{B2AB74BB-8C16-CB21-84DD-EC2379A4B9E6}"/>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2" name="Text Placeholder 21">
            <a:extLst>
              <a:ext uri="{FF2B5EF4-FFF2-40B4-BE49-F238E27FC236}">
                <a16:creationId xmlns:a16="http://schemas.microsoft.com/office/drawing/2014/main" id="{E1745DE7-CCBF-AC07-24D8-F1D2F8174ED1}"/>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816C0E4C-E8AD-0D27-35D5-45DD75486E6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4E48A781-2296-61D5-FECB-D3CE853C2D7F}"/>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E6BC9836-CB8A-2D56-D166-3B48790806F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F519A837-7108-1C10-6619-274C72E86A34}"/>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1">
            <a:extLst>
              <a:ext uri="{FF2B5EF4-FFF2-40B4-BE49-F238E27FC236}">
                <a16:creationId xmlns:a16="http://schemas.microsoft.com/office/drawing/2014/main" id="{20FB2C39-0914-79DB-259E-1B6D7A431B5D}"/>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8" name="Text Placeholder 2">
            <a:extLst>
              <a:ext uri="{FF2B5EF4-FFF2-40B4-BE49-F238E27FC236}">
                <a16:creationId xmlns:a16="http://schemas.microsoft.com/office/drawing/2014/main" id="{4CB8FFF1-7B39-EA27-C1BB-26A9EAB64499}"/>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611D6D97-378E-65F0-45D9-112FE6FBE883}"/>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9712206-4625-D51E-9D90-F4D3611D894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C55B87A-0F77-8424-9527-085D3D9F4D4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D8F0636D-AFDB-AB32-0FC2-967E6634CC31}"/>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
            <a:extLst>
              <a:ext uri="{FF2B5EF4-FFF2-40B4-BE49-F238E27FC236}">
                <a16:creationId xmlns:a16="http://schemas.microsoft.com/office/drawing/2014/main" id="{1FDB8DE0-ABB7-8EAE-8F47-A88242C1B197}"/>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4" name="Text Placeholder 21">
            <a:extLst>
              <a:ext uri="{FF2B5EF4-FFF2-40B4-BE49-F238E27FC236}">
                <a16:creationId xmlns:a16="http://schemas.microsoft.com/office/drawing/2014/main" id="{13D073E4-0863-17E3-A11F-CFC0F27CA81E}"/>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36DE941E-611B-0AEA-1328-FC7A9A97491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0CBAA8D-FCE3-9DB3-4BE3-A33E6EDE020A}"/>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5E2CA6B8-D22B-AFE1-3AFC-A6FFF5E656CF}"/>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9FC3DAEF-8F1A-8F2A-421B-8627F3891772}"/>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1">
            <a:extLst>
              <a:ext uri="{FF2B5EF4-FFF2-40B4-BE49-F238E27FC236}">
                <a16:creationId xmlns:a16="http://schemas.microsoft.com/office/drawing/2014/main" id="{85CD3196-72CF-1065-C2EE-A1E08C4AB5DF}"/>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0" name="Text Placeholder 2">
            <a:extLst>
              <a:ext uri="{FF2B5EF4-FFF2-40B4-BE49-F238E27FC236}">
                <a16:creationId xmlns:a16="http://schemas.microsoft.com/office/drawing/2014/main" id="{F6D73429-B24A-8725-663A-0C86BB3340D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82B48FA-8153-D664-CC08-8E477721AD70}"/>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8891AD91-2155-9E9B-5ECA-5449F0C3E58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81EDFD42-AF5C-7BF2-0690-E730B9C6649A}"/>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B19B8E39-3398-6AE0-A23B-AF62D0B39A8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
            <a:extLst>
              <a:ext uri="{FF2B5EF4-FFF2-40B4-BE49-F238E27FC236}">
                <a16:creationId xmlns:a16="http://schemas.microsoft.com/office/drawing/2014/main" id="{C8113AC9-B9AB-CA2C-A381-36E0361001E5}"/>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6" name="Text Placeholder 21">
            <a:extLst>
              <a:ext uri="{FF2B5EF4-FFF2-40B4-BE49-F238E27FC236}">
                <a16:creationId xmlns:a16="http://schemas.microsoft.com/office/drawing/2014/main" id="{C325326D-8D0D-28DD-73F1-A950782F2321}"/>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61808FE7-83B3-FF51-E2F7-2FEAEF3186D6}"/>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0D1170B5-9471-92D5-698A-EB2CAEC858A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90E0EA77-618E-351C-4582-4AC537C97CE6}"/>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206E046F-8E82-05D0-68C7-38FD6A28B267}"/>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1">
            <a:extLst>
              <a:ext uri="{FF2B5EF4-FFF2-40B4-BE49-F238E27FC236}">
                <a16:creationId xmlns:a16="http://schemas.microsoft.com/office/drawing/2014/main" id="{1CC8283B-CF34-D0F0-B25A-CAA204F63C0A}"/>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2" name="Text Placeholder 2">
            <a:extLst>
              <a:ext uri="{FF2B5EF4-FFF2-40B4-BE49-F238E27FC236}">
                <a16:creationId xmlns:a16="http://schemas.microsoft.com/office/drawing/2014/main" id="{A1CAD2AE-A097-FF80-722D-9713AF2997EB}"/>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4C639836-573B-6A74-AD84-A934CF50A439}"/>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8B345AA3-3AF0-741F-2E3F-8916283A215B}"/>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D1098F3E-8E5B-1397-E2EB-026F19465EC5}"/>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4BDD20FA-44F5-AC42-F5B2-81BBDC9040C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
            <a:extLst>
              <a:ext uri="{FF2B5EF4-FFF2-40B4-BE49-F238E27FC236}">
                <a16:creationId xmlns:a16="http://schemas.microsoft.com/office/drawing/2014/main" id="{1504322D-6958-A6CA-686A-78C0310E3F3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4" name="Text Placeholder 21">
            <a:extLst>
              <a:ext uri="{FF2B5EF4-FFF2-40B4-BE49-F238E27FC236}">
                <a16:creationId xmlns:a16="http://schemas.microsoft.com/office/drawing/2014/main" id="{06B837FE-9A94-8960-B067-92563CBF0FE8}"/>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04E3DFA2-A7F5-FEF4-FFDF-DAB3EA74E55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72D73688-9456-7494-9A3C-706B10C185B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FC820426-B7E7-A73C-695D-1360D98B3014}"/>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D256C196-5D5E-8E3A-5734-72BA3BAC1073}"/>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92A2FEF2-7954-4613-BEDF-903D5526CD5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9F724C07-0234-4F2C-3BCE-BE30BD6039DE}"/>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739BABB9-E1C6-37B1-DF29-D3C9EB3712BD}"/>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F8C7B1CE-3063-FE30-A42B-C309F6B2C31B}"/>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066ED392-2370-59F0-AF73-02B0BCF80CFD}"/>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5BC3CB71-E951-5804-60B2-9D088A62759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ADAD28F5-FDC8-30EE-697F-27AC8FC69D60}"/>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1">
            <a:extLst>
              <a:ext uri="{FF2B5EF4-FFF2-40B4-BE49-F238E27FC236}">
                <a16:creationId xmlns:a16="http://schemas.microsoft.com/office/drawing/2014/main" id="{E94A2FE4-69DB-A5CE-7357-0144310F9C6C}"/>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4" name="Text Placeholder 2">
            <a:extLst>
              <a:ext uri="{FF2B5EF4-FFF2-40B4-BE49-F238E27FC236}">
                <a16:creationId xmlns:a16="http://schemas.microsoft.com/office/drawing/2014/main" id="{1A8A15BA-4DEF-5C0D-430D-B59911AAC952}"/>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96B5004D-C519-9295-0F57-4502E437CE6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C616C191-3B14-89FB-3D7D-CFC3C9C19619}"/>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01019361-5114-077B-D3A1-8E2191615E5E}"/>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D5901B6B-3262-6E55-3C43-D9AAA9B4288A}"/>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3A660B9C-F0BC-BDB4-EDC0-0F31FF32E554}"/>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29E36C12-84A1-95E8-3161-8C0C3EBDFFE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EF90984B-1C70-9DB3-138A-87544D893FF4}"/>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3A9B539-609C-4333-ED15-B9C1292887D2}"/>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1F439EC8-052B-6E2D-E0AA-50470B235A09}"/>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3DDE706F-36BC-8203-564E-A677DB37C87F}"/>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75783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y">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6" name="Text Placeholder 21">
            <a:extLst>
              <a:ext uri="{FF2B5EF4-FFF2-40B4-BE49-F238E27FC236}">
                <a16:creationId xmlns:a16="http://schemas.microsoft.com/office/drawing/2014/main" id="{23C658C2-CCA9-7D37-5C5A-5728DFCC10AC}"/>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 name="Text Placeholder 21">
            <a:extLst>
              <a:ext uri="{FF2B5EF4-FFF2-40B4-BE49-F238E27FC236}">
                <a16:creationId xmlns:a16="http://schemas.microsoft.com/office/drawing/2014/main" id="{4A161F6D-084C-9783-AE89-3814C10CF9E2}"/>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 name="Text Placeholder 21">
            <a:extLst>
              <a:ext uri="{FF2B5EF4-FFF2-40B4-BE49-F238E27FC236}">
                <a16:creationId xmlns:a16="http://schemas.microsoft.com/office/drawing/2014/main" id="{39176486-90D2-7638-2222-E45CC4C40D81}"/>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 name="Text Placeholder 21">
            <a:extLst>
              <a:ext uri="{FF2B5EF4-FFF2-40B4-BE49-F238E27FC236}">
                <a16:creationId xmlns:a16="http://schemas.microsoft.com/office/drawing/2014/main" id="{31C67659-F39B-D92B-C7D2-69DE7D91BC4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 name="Text Placeholder 21">
            <a:extLst>
              <a:ext uri="{FF2B5EF4-FFF2-40B4-BE49-F238E27FC236}">
                <a16:creationId xmlns:a16="http://schemas.microsoft.com/office/drawing/2014/main" id="{15210A80-6183-7D2E-0B34-DDE0C260A340}"/>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 name="Text Placeholder 21">
            <a:extLst>
              <a:ext uri="{FF2B5EF4-FFF2-40B4-BE49-F238E27FC236}">
                <a16:creationId xmlns:a16="http://schemas.microsoft.com/office/drawing/2014/main" id="{A592F7D9-A91A-0678-0B89-6D525FAC4DFE}"/>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3" name="Text Placeholder 2">
            <a:extLst>
              <a:ext uri="{FF2B5EF4-FFF2-40B4-BE49-F238E27FC236}">
                <a16:creationId xmlns:a16="http://schemas.microsoft.com/office/drawing/2014/main" id="{3C20390B-FA11-9903-FFD4-0F1B445B1FBE}"/>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1" name="Text Placeholder 2">
            <a:extLst>
              <a:ext uri="{FF2B5EF4-FFF2-40B4-BE49-F238E27FC236}">
                <a16:creationId xmlns:a16="http://schemas.microsoft.com/office/drawing/2014/main" id="{F49EA979-7CF5-7255-5EB9-5D2E05C5391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2" name="Text Placeholder 2">
            <a:extLst>
              <a:ext uri="{FF2B5EF4-FFF2-40B4-BE49-F238E27FC236}">
                <a16:creationId xmlns:a16="http://schemas.microsoft.com/office/drawing/2014/main" id="{8F580E5D-2801-6A32-A463-47B0C1D5F2A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3" name="Text Placeholder 2">
            <a:extLst>
              <a:ext uri="{FF2B5EF4-FFF2-40B4-BE49-F238E27FC236}">
                <a16:creationId xmlns:a16="http://schemas.microsoft.com/office/drawing/2014/main" id="{9AE7F0E7-DF2D-4399-2523-AC36F56CDEF1}"/>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4" name="Text Placeholder 2">
            <a:extLst>
              <a:ext uri="{FF2B5EF4-FFF2-40B4-BE49-F238E27FC236}">
                <a16:creationId xmlns:a16="http://schemas.microsoft.com/office/drawing/2014/main" id="{B9FD0BEF-6461-B98A-076F-640CF777537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5" name="Text Placeholder 2">
            <a:extLst>
              <a:ext uri="{FF2B5EF4-FFF2-40B4-BE49-F238E27FC236}">
                <a16:creationId xmlns:a16="http://schemas.microsoft.com/office/drawing/2014/main" id="{6A2E6D7E-6520-ACF4-2BE7-D558839D812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6" name="Text Placeholder 21">
            <a:extLst>
              <a:ext uri="{FF2B5EF4-FFF2-40B4-BE49-F238E27FC236}">
                <a16:creationId xmlns:a16="http://schemas.microsoft.com/office/drawing/2014/main" id="{D6073877-227C-B19D-11A3-666C6AC36D28}"/>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7" name="Text Placeholder 21">
            <a:extLst>
              <a:ext uri="{FF2B5EF4-FFF2-40B4-BE49-F238E27FC236}">
                <a16:creationId xmlns:a16="http://schemas.microsoft.com/office/drawing/2014/main" id="{BF466CDA-4D4B-EF24-96B9-6C7C9690DA38}"/>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C46D972D-BD61-E731-5CB3-521D8CA3D906}"/>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83BF1A27-B494-0787-5BF8-939C26A42A2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8FCA798-0957-C7FE-8721-23AD29002B1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388D1BE-9887-7A1E-3B95-20A0A320463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
            <a:extLst>
              <a:ext uri="{FF2B5EF4-FFF2-40B4-BE49-F238E27FC236}">
                <a16:creationId xmlns:a16="http://schemas.microsoft.com/office/drawing/2014/main" id="{DCDBC4A6-7479-36FC-1107-28988B0B517D}"/>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3" name="Text Placeholder 2">
            <a:extLst>
              <a:ext uri="{FF2B5EF4-FFF2-40B4-BE49-F238E27FC236}">
                <a16:creationId xmlns:a16="http://schemas.microsoft.com/office/drawing/2014/main" id="{8B3925DF-3B02-8811-996F-55978307DE55}"/>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007F60D3-BC03-A816-C431-F5BCEC30D905}"/>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4A3D427F-3E33-8890-D71E-976353FA89C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A95A2E7-E700-5AFA-3C2C-44A5E61EF63A}"/>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
            <a:extLst>
              <a:ext uri="{FF2B5EF4-FFF2-40B4-BE49-F238E27FC236}">
                <a16:creationId xmlns:a16="http://schemas.microsoft.com/office/drawing/2014/main" id="{0ACE8E98-582B-493A-2524-28FEE3E66D94}"/>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1">
            <a:extLst>
              <a:ext uri="{FF2B5EF4-FFF2-40B4-BE49-F238E27FC236}">
                <a16:creationId xmlns:a16="http://schemas.microsoft.com/office/drawing/2014/main" id="{FF07A96A-C15D-D496-EECF-7AFB4AD8E22C}"/>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082C89C3-5576-0A9E-45CD-7BE741A6A37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2EDB76B5-DB84-DDEC-5E14-EBA57BE0A363}"/>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2B9EFC45-C7C5-FABA-F4E7-2ECC2E6E3D92}"/>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F2B10BEA-E433-1E1D-3BD2-C284A787914F}"/>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79E7909D-84FF-73FE-11F3-8AF24E44CA94}"/>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
            <a:extLst>
              <a:ext uri="{FF2B5EF4-FFF2-40B4-BE49-F238E27FC236}">
                <a16:creationId xmlns:a16="http://schemas.microsoft.com/office/drawing/2014/main" id="{7D7602E9-C938-7268-7743-29917D6A175F}"/>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4BF29F4C-E02D-0A2C-3283-9091F544A39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BB5BB35F-E9ED-ECC0-383B-46126AC95CE3}"/>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C9BA08D9-296A-6A64-210F-6B612528F60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51A0EBC-317C-5A42-D05F-3C6F1AE6C828}"/>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537ABC06-CFB7-02D9-C57F-868DE6C08E14}"/>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1">
            <a:extLst>
              <a:ext uri="{FF2B5EF4-FFF2-40B4-BE49-F238E27FC236}">
                <a16:creationId xmlns:a16="http://schemas.microsoft.com/office/drawing/2014/main" id="{EA62A11A-4146-91F5-652C-B2CA31655FF5}"/>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413BC03-4E5B-3955-47F0-52F8A9610B83}"/>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D24ABAE7-4B27-7013-9E6A-4BDFD148691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30E4EDD4-16D5-7413-E674-D793A638B465}"/>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8E17A6D7-052D-21B4-AA30-F9F992F6D4F8}"/>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CF3F2E95-C918-4538-8B1F-E6F347CEF8A7}"/>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
            <a:extLst>
              <a:ext uri="{FF2B5EF4-FFF2-40B4-BE49-F238E27FC236}">
                <a16:creationId xmlns:a16="http://schemas.microsoft.com/office/drawing/2014/main" id="{27EBE0F1-EC0C-0832-5197-095C7AE32FB0}"/>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0BBBD6B1-28DC-0EA7-89A5-A318BF8942A8}"/>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2C0D2593-4D18-474E-737D-C0612EF6751C}"/>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75498B20-7B1F-7D7D-4646-644932B9E6B3}"/>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EE2CABCD-C46D-6223-8DDA-9A043D4BB5B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85C5D1DC-47F5-0CC2-F924-A07619A1A9CD}"/>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1">
            <a:extLst>
              <a:ext uri="{FF2B5EF4-FFF2-40B4-BE49-F238E27FC236}">
                <a16:creationId xmlns:a16="http://schemas.microsoft.com/office/drawing/2014/main" id="{06D76036-0DA5-928F-C211-E7C44FC20D36}"/>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ECCB787D-C086-445C-02F5-DA3388276858}"/>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452824FE-C155-9661-CE89-1E12057C61F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C4A36D-A516-7D33-FEB5-CE6071EC5C3C}"/>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A156ADF9-D79B-335F-2056-441856F9B87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5F24D66B-71AA-26CC-FB7F-48EC9FA10291}"/>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
            <a:extLst>
              <a:ext uri="{FF2B5EF4-FFF2-40B4-BE49-F238E27FC236}">
                <a16:creationId xmlns:a16="http://schemas.microsoft.com/office/drawing/2014/main" id="{E4BAB351-0378-AF11-BE20-E9737FFFB48B}"/>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760DA18-D6DF-53A4-0657-FD6B988917B2}"/>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C7E34D4E-6ABF-6188-7F41-B8682A735288}"/>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327D909-1DBD-18E8-4D24-487785367118}"/>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C838632-1062-D799-8E9D-4571D219DE37}"/>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ADF86B72-9527-0782-8009-B28346B8299A}"/>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1">
            <a:extLst>
              <a:ext uri="{FF2B5EF4-FFF2-40B4-BE49-F238E27FC236}">
                <a16:creationId xmlns:a16="http://schemas.microsoft.com/office/drawing/2014/main" id="{B9E9B1DB-1111-BA13-6F36-2F257D9A243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DEBFD5F9-288D-1473-1BB1-54B2FE8A909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1">
            <a:extLst>
              <a:ext uri="{FF2B5EF4-FFF2-40B4-BE49-F238E27FC236}">
                <a16:creationId xmlns:a16="http://schemas.microsoft.com/office/drawing/2014/main" id="{59F9C79A-EDC5-FE21-398C-21AE729ED071}"/>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1">
            <a:extLst>
              <a:ext uri="{FF2B5EF4-FFF2-40B4-BE49-F238E27FC236}">
                <a16:creationId xmlns:a16="http://schemas.microsoft.com/office/drawing/2014/main" id="{4142546D-119D-C42C-661A-3A476C49586A}"/>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1" name="Text Placeholder 21">
            <a:extLst>
              <a:ext uri="{FF2B5EF4-FFF2-40B4-BE49-F238E27FC236}">
                <a16:creationId xmlns:a16="http://schemas.microsoft.com/office/drawing/2014/main" id="{D797AFB8-A1BB-41C9-EEFA-82DFFD87A050}"/>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2" name="Text Placeholder 21">
            <a:extLst>
              <a:ext uri="{FF2B5EF4-FFF2-40B4-BE49-F238E27FC236}">
                <a16:creationId xmlns:a16="http://schemas.microsoft.com/office/drawing/2014/main" id="{DC94B6CB-FD97-1BBB-81F5-4FEF47C9974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3" name="Text Placeholder 21">
            <a:extLst>
              <a:ext uri="{FF2B5EF4-FFF2-40B4-BE49-F238E27FC236}">
                <a16:creationId xmlns:a16="http://schemas.microsoft.com/office/drawing/2014/main" id="{505B7E51-833B-1483-C456-9A41BE03399C}"/>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4" name="Text Placeholder 2">
            <a:extLst>
              <a:ext uri="{FF2B5EF4-FFF2-40B4-BE49-F238E27FC236}">
                <a16:creationId xmlns:a16="http://schemas.microsoft.com/office/drawing/2014/main" id="{A0FE6705-CF77-2979-16BC-2CFC4514E1D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025F9500-5F71-D42F-993B-600ECDC2A09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
            <a:extLst>
              <a:ext uri="{FF2B5EF4-FFF2-40B4-BE49-F238E27FC236}">
                <a16:creationId xmlns:a16="http://schemas.microsoft.com/office/drawing/2014/main" id="{E8FB7EA2-55A9-9F68-D2D0-E66599C28DCA}"/>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
            <a:extLst>
              <a:ext uri="{FF2B5EF4-FFF2-40B4-BE49-F238E27FC236}">
                <a16:creationId xmlns:a16="http://schemas.microsoft.com/office/drawing/2014/main" id="{AFF3F6A8-EBB7-0B19-D082-4639C8FA4646}"/>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1" name="Text Placeholder 2">
            <a:extLst>
              <a:ext uri="{FF2B5EF4-FFF2-40B4-BE49-F238E27FC236}">
                <a16:creationId xmlns:a16="http://schemas.microsoft.com/office/drawing/2014/main" id="{9EBA0DD5-662F-4D71-78D7-E10CD937A858}"/>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46329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ril">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03480C92-D9DE-2600-8878-50CBD08BD44F}"/>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F51EAE76-4288-740E-DD89-DE03A54894B6}"/>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6D33263F-1961-139C-5319-83CB070664D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E9EEF8E-ADA2-7360-2EC0-7837B51F2176}"/>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3C63D274-E2AF-CEC0-8477-3D812E82FD7F}"/>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581F3A84-9C5C-A2DE-A357-D33683918A3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8C36CB0-8AFF-2D1A-2EB0-F8352DF978A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8148F11A-22AD-65C7-75F2-89A4D64A9748}"/>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5" name="Text Placeholder 2">
            <a:extLst>
              <a:ext uri="{FF2B5EF4-FFF2-40B4-BE49-F238E27FC236}">
                <a16:creationId xmlns:a16="http://schemas.microsoft.com/office/drawing/2014/main" id="{5475E77E-C900-B918-F3AE-6820054B8A6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718133D1-A7BD-8153-486E-AB3B15A75DEB}"/>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FFD8146F-7AAE-E2A4-BF2B-175ABEC110EE}"/>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EFC900DC-085B-49F1-6BDF-327336632D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1">
            <a:extLst>
              <a:ext uri="{FF2B5EF4-FFF2-40B4-BE49-F238E27FC236}">
                <a16:creationId xmlns:a16="http://schemas.microsoft.com/office/drawing/2014/main" id="{50FADF55-BDEF-B4C3-2DA2-B09F5C1AEF7B}"/>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59" name="Text Placeholder 21">
            <a:extLst>
              <a:ext uri="{FF2B5EF4-FFF2-40B4-BE49-F238E27FC236}">
                <a16:creationId xmlns:a16="http://schemas.microsoft.com/office/drawing/2014/main" id="{D9847C35-4BFE-B1FA-0074-D42160C7A57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47A4B399-F7F6-EF07-63E1-BE2F5B5D3148}"/>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6B1314BC-A552-1840-9710-BDDE1721C94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06961B9A-6543-05BC-3D31-3632374C779C}"/>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8CDF7BF1-AC46-D0F2-9681-F5C6AAE65CE5}"/>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
            <a:extLst>
              <a:ext uri="{FF2B5EF4-FFF2-40B4-BE49-F238E27FC236}">
                <a16:creationId xmlns:a16="http://schemas.microsoft.com/office/drawing/2014/main" id="{F9A6B7AA-B930-0BD5-073E-0FC0A36A801B}"/>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6" name="Text Placeholder 2">
            <a:extLst>
              <a:ext uri="{FF2B5EF4-FFF2-40B4-BE49-F238E27FC236}">
                <a16:creationId xmlns:a16="http://schemas.microsoft.com/office/drawing/2014/main" id="{C28D3E4C-F3D3-BA87-CCE8-3DAF2A83D4F1}"/>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CB4BDD95-C248-A79B-0D87-168C6EE21C27}"/>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E40E30EA-E7AC-769C-DFE9-2C2EE693F05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A16AB2F0-CD53-FB09-4A6F-D7C8D905F5E5}"/>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02D130A-2872-A51F-5078-92225CB7C112}"/>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1">
            <a:extLst>
              <a:ext uri="{FF2B5EF4-FFF2-40B4-BE49-F238E27FC236}">
                <a16:creationId xmlns:a16="http://schemas.microsoft.com/office/drawing/2014/main" id="{8EAB2E23-034A-FA45-DB9C-F2BC05A4B735}"/>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2" name="Text Placeholder 21">
            <a:extLst>
              <a:ext uri="{FF2B5EF4-FFF2-40B4-BE49-F238E27FC236}">
                <a16:creationId xmlns:a16="http://schemas.microsoft.com/office/drawing/2014/main" id="{95F165C5-EE2F-32A4-09CC-8BC5B02245E6}"/>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99D35894-B0DF-5972-67C3-86CA510BC5BE}"/>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337B590D-A9FA-A6A8-7C97-424B9F0684C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C1C6EA46-FD75-E704-09F2-0929AEDAE6B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DC3C1DB-6C74-76C6-7204-2B0C3CE7FA2D}"/>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
            <a:extLst>
              <a:ext uri="{FF2B5EF4-FFF2-40B4-BE49-F238E27FC236}">
                <a16:creationId xmlns:a16="http://schemas.microsoft.com/office/drawing/2014/main" id="{A5474F26-B208-3698-1C84-61890F45402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8" name="Text Placeholder 2">
            <a:extLst>
              <a:ext uri="{FF2B5EF4-FFF2-40B4-BE49-F238E27FC236}">
                <a16:creationId xmlns:a16="http://schemas.microsoft.com/office/drawing/2014/main" id="{7B017046-8547-43A9-FA49-CDB9384ED1D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61BF3790-59F2-42A9-8F1B-E192E3579DDF}"/>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62FB43A-228A-E0B5-3826-59966425686F}"/>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B15738A2-B5B6-0633-64AF-66563A29DD10}"/>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6F8092EF-D2A1-7D38-C847-7E713414DD3A}"/>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1">
            <a:extLst>
              <a:ext uri="{FF2B5EF4-FFF2-40B4-BE49-F238E27FC236}">
                <a16:creationId xmlns:a16="http://schemas.microsoft.com/office/drawing/2014/main" id="{089883F6-2E5B-FE13-5EFF-7CE41B82E406}"/>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4" name="Text Placeholder 21">
            <a:extLst>
              <a:ext uri="{FF2B5EF4-FFF2-40B4-BE49-F238E27FC236}">
                <a16:creationId xmlns:a16="http://schemas.microsoft.com/office/drawing/2014/main" id="{3E7399A5-6A90-4D5A-2E95-453829853342}"/>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8032865A-6B17-4CF9-AD57-759FAA8C14B1}"/>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7BEDF1B7-2101-58EB-173B-560B50B1D7C2}"/>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EE8D67CC-97B1-9ED7-F064-6B0F24CE457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B9ECC4C1-5268-5D5B-5858-CE7528C3B161}"/>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
            <a:extLst>
              <a:ext uri="{FF2B5EF4-FFF2-40B4-BE49-F238E27FC236}">
                <a16:creationId xmlns:a16="http://schemas.microsoft.com/office/drawing/2014/main" id="{31DEBA60-C4CA-7C7D-342B-F53B36907816}"/>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0" name="Text Placeholder 2">
            <a:extLst>
              <a:ext uri="{FF2B5EF4-FFF2-40B4-BE49-F238E27FC236}">
                <a16:creationId xmlns:a16="http://schemas.microsoft.com/office/drawing/2014/main" id="{12F44D2C-4302-E514-46AC-29BCCACD7F00}"/>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B9B6E657-14B4-E24E-057B-E09759AF844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54579A2-F6AB-ED01-34A1-6B541D886E00}"/>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56DDCCC-A9F7-F3E3-4CF3-317FEE423D1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5414524-86C7-8078-113D-97DBD4CE5341}"/>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1">
            <a:extLst>
              <a:ext uri="{FF2B5EF4-FFF2-40B4-BE49-F238E27FC236}">
                <a16:creationId xmlns:a16="http://schemas.microsoft.com/office/drawing/2014/main" id="{89CBB617-0247-E111-7E3F-7F6697D12C53}"/>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6" name="Text Placeholder 21">
            <a:extLst>
              <a:ext uri="{FF2B5EF4-FFF2-40B4-BE49-F238E27FC236}">
                <a16:creationId xmlns:a16="http://schemas.microsoft.com/office/drawing/2014/main" id="{DBEC3A21-47F2-B01A-D2D4-AB4E9A600191}"/>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507F4AA4-EE83-1892-692C-3ECFB16727B0}"/>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5E3F98DA-EF04-A9E4-D257-F0C2997ED6B3}"/>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0AABE093-C6A8-02E2-42C9-B74FEA5D1FFE}"/>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AB043392-85B4-A084-B070-EA98B1A9E45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A5E901E7-1559-CF4D-D248-ED28393A9C90}"/>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
            <a:extLst>
              <a:ext uri="{FF2B5EF4-FFF2-40B4-BE49-F238E27FC236}">
                <a16:creationId xmlns:a16="http://schemas.microsoft.com/office/drawing/2014/main" id="{0132E90F-9C5D-EA01-2E8B-ECC573CB925B}"/>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0" name="Text Placeholder 2">
            <a:extLst>
              <a:ext uri="{FF2B5EF4-FFF2-40B4-BE49-F238E27FC236}">
                <a16:creationId xmlns:a16="http://schemas.microsoft.com/office/drawing/2014/main" id="{576E98CF-C715-0321-5A94-328C1F65B030}"/>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A26E205A-2564-1C8F-C8C0-D231C550FDD0}"/>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24E604DB-03C5-FEE3-3176-3128BF016F1A}"/>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670747EF-1D62-A232-D800-FA55767C9D27}"/>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1">
            <a:extLst>
              <a:ext uri="{FF2B5EF4-FFF2-40B4-BE49-F238E27FC236}">
                <a16:creationId xmlns:a16="http://schemas.microsoft.com/office/drawing/2014/main" id="{1740C345-F7BC-80C7-1A35-A7E38962252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5" name="Text Placeholder 2">
            <a:extLst>
              <a:ext uri="{FF2B5EF4-FFF2-40B4-BE49-F238E27FC236}">
                <a16:creationId xmlns:a16="http://schemas.microsoft.com/office/drawing/2014/main" id="{ECE3C870-86D3-FF54-18CB-F54B8DD43E13}"/>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D82A19B0-6D34-5158-1EAF-6B17A889A87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1">
            <a:extLst>
              <a:ext uri="{FF2B5EF4-FFF2-40B4-BE49-F238E27FC236}">
                <a16:creationId xmlns:a16="http://schemas.microsoft.com/office/drawing/2014/main" id="{82AB8DCC-3A5B-2516-CCC8-8910A0B5A53D}"/>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5" name="Text Placeholder 21">
            <a:extLst>
              <a:ext uri="{FF2B5EF4-FFF2-40B4-BE49-F238E27FC236}">
                <a16:creationId xmlns:a16="http://schemas.microsoft.com/office/drawing/2014/main" id="{06967F1F-BB4D-6E97-E1B5-BE739B4989B1}"/>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3BC676C8-0B41-5199-57BE-B2A28DB1575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7EB32C30-21EF-CD40-5AF2-726250F19C6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
            <a:extLst>
              <a:ext uri="{FF2B5EF4-FFF2-40B4-BE49-F238E27FC236}">
                <a16:creationId xmlns:a16="http://schemas.microsoft.com/office/drawing/2014/main" id="{4C561879-974C-5A81-7292-98A27E11C847}"/>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0" name="Text Placeholder 2">
            <a:extLst>
              <a:ext uri="{FF2B5EF4-FFF2-40B4-BE49-F238E27FC236}">
                <a16:creationId xmlns:a16="http://schemas.microsoft.com/office/drawing/2014/main" id="{7D2012F1-A54E-C1D5-CF2F-BBE5C736C8A7}"/>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1" name="Text Placeholder 2">
            <a:extLst>
              <a:ext uri="{FF2B5EF4-FFF2-40B4-BE49-F238E27FC236}">
                <a16:creationId xmlns:a16="http://schemas.microsoft.com/office/drawing/2014/main" id="{481DA71A-A87E-131A-4AD6-5E1D0E6D2C43}"/>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1B5A66C9-C7F7-C9AA-461B-BC4E012AD967}"/>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8E23917F-F330-D83B-EC4B-82AE9051D7ED}"/>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49433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rch">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8" name="Text Placeholder 21">
            <a:extLst>
              <a:ext uri="{FF2B5EF4-FFF2-40B4-BE49-F238E27FC236}">
                <a16:creationId xmlns:a16="http://schemas.microsoft.com/office/drawing/2014/main" id="{A1470067-6057-35FA-54EF-110E28AF2F9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9" name="Text Placeholder 21">
            <a:extLst>
              <a:ext uri="{FF2B5EF4-FFF2-40B4-BE49-F238E27FC236}">
                <a16:creationId xmlns:a16="http://schemas.microsoft.com/office/drawing/2014/main" id="{012FF6C4-3F0B-EC1B-27B3-55A34FA18D0E}"/>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0" name="Text Placeholder 21">
            <a:extLst>
              <a:ext uri="{FF2B5EF4-FFF2-40B4-BE49-F238E27FC236}">
                <a16:creationId xmlns:a16="http://schemas.microsoft.com/office/drawing/2014/main" id="{6EE24261-D929-F53C-DFF8-CA431F354B74}"/>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1" name="Text Placeholder 21">
            <a:extLst>
              <a:ext uri="{FF2B5EF4-FFF2-40B4-BE49-F238E27FC236}">
                <a16:creationId xmlns:a16="http://schemas.microsoft.com/office/drawing/2014/main" id="{2A32F580-857C-ED7A-FD14-CE12F0D1559C}"/>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2" name="Text Placeholder 21">
            <a:extLst>
              <a:ext uri="{FF2B5EF4-FFF2-40B4-BE49-F238E27FC236}">
                <a16:creationId xmlns:a16="http://schemas.microsoft.com/office/drawing/2014/main" id="{43BF2B2D-FCB5-8EF0-25C5-7515B9B3D81C}"/>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3" name="Text Placeholder 21">
            <a:extLst>
              <a:ext uri="{FF2B5EF4-FFF2-40B4-BE49-F238E27FC236}">
                <a16:creationId xmlns:a16="http://schemas.microsoft.com/office/drawing/2014/main" id="{44715596-AF5F-78E7-3018-EF092C5CD57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4" name="Text Placeholder 2">
            <a:extLst>
              <a:ext uri="{FF2B5EF4-FFF2-40B4-BE49-F238E27FC236}">
                <a16:creationId xmlns:a16="http://schemas.microsoft.com/office/drawing/2014/main" id="{9B1AF177-F1F9-F563-C583-150786CAB302}"/>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5" name="Text Placeholder 2">
            <a:extLst>
              <a:ext uri="{FF2B5EF4-FFF2-40B4-BE49-F238E27FC236}">
                <a16:creationId xmlns:a16="http://schemas.microsoft.com/office/drawing/2014/main" id="{0D091039-1BAE-CD9E-8C65-944BB4CC9FE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6" name="Text Placeholder 2">
            <a:extLst>
              <a:ext uri="{FF2B5EF4-FFF2-40B4-BE49-F238E27FC236}">
                <a16:creationId xmlns:a16="http://schemas.microsoft.com/office/drawing/2014/main" id="{D67A5E79-F4B3-0F2C-8F05-297A07410F65}"/>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7" name="Text Placeholder 2">
            <a:extLst>
              <a:ext uri="{FF2B5EF4-FFF2-40B4-BE49-F238E27FC236}">
                <a16:creationId xmlns:a16="http://schemas.microsoft.com/office/drawing/2014/main" id="{B0EF86C4-64D2-2CF8-29AD-8B94A6643D00}"/>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8" name="Text Placeholder 2">
            <a:extLst>
              <a:ext uri="{FF2B5EF4-FFF2-40B4-BE49-F238E27FC236}">
                <a16:creationId xmlns:a16="http://schemas.microsoft.com/office/drawing/2014/main" id="{A7A94A63-95C3-020A-4515-6162961168D8}"/>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9" name="Text Placeholder 2">
            <a:extLst>
              <a:ext uri="{FF2B5EF4-FFF2-40B4-BE49-F238E27FC236}">
                <a16:creationId xmlns:a16="http://schemas.microsoft.com/office/drawing/2014/main" id="{A993B05A-ADC3-B750-EBC9-6960BECAAEA7}"/>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0" name="Text Placeholder 21">
            <a:extLst>
              <a:ext uri="{FF2B5EF4-FFF2-40B4-BE49-F238E27FC236}">
                <a16:creationId xmlns:a16="http://schemas.microsoft.com/office/drawing/2014/main" id="{C9A7F8F0-B335-6CE0-6793-E0AF935C001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1" name="Text Placeholder 21">
            <a:extLst>
              <a:ext uri="{FF2B5EF4-FFF2-40B4-BE49-F238E27FC236}">
                <a16:creationId xmlns:a16="http://schemas.microsoft.com/office/drawing/2014/main" id="{A7EF1B72-1020-E86C-4B1F-0B3C5DEA471B}"/>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2" name="Text Placeholder 21">
            <a:extLst>
              <a:ext uri="{FF2B5EF4-FFF2-40B4-BE49-F238E27FC236}">
                <a16:creationId xmlns:a16="http://schemas.microsoft.com/office/drawing/2014/main" id="{ABB306AE-E768-CD63-6882-0D9EFB1724DA}"/>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3" name="Text Placeholder 21">
            <a:extLst>
              <a:ext uri="{FF2B5EF4-FFF2-40B4-BE49-F238E27FC236}">
                <a16:creationId xmlns:a16="http://schemas.microsoft.com/office/drawing/2014/main" id="{D6AD8F69-5EDC-01E6-774D-C2AEA34C8113}"/>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4" name="Text Placeholder 21">
            <a:extLst>
              <a:ext uri="{FF2B5EF4-FFF2-40B4-BE49-F238E27FC236}">
                <a16:creationId xmlns:a16="http://schemas.microsoft.com/office/drawing/2014/main" id="{9E5DEF59-6AB0-EA7A-2D4A-75FB89B798FD}"/>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5" name="Text Placeholder 21">
            <a:extLst>
              <a:ext uri="{FF2B5EF4-FFF2-40B4-BE49-F238E27FC236}">
                <a16:creationId xmlns:a16="http://schemas.microsoft.com/office/drawing/2014/main" id="{7EB38161-E820-290E-68E6-03C083522A1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6" name="Text Placeholder 2">
            <a:extLst>
              <a:ext uri="{FF2B5EF4-FFF2-40B4-BE49-F238E27FC236}">
                <a16:creationId xmlns:a16="http://schemas.microsoft.com/office/drawing/2014/main" id="{51C152D3-CA99-9C56-7B34-C8FB8F55ABFA}"/>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7" name="Text Placeholder 2">
            <a:extLst>
              <a:ext uri="{FF2B5EF4-FFF2-40B4-BE49-F238E27FC236}">
                <a16:creationId xmlns:a16="http://schemas.microsoft.com/office/drawing/2014/main" id="{9E6B5862-1AE0-0598-ECE6-1E40C761F58F}"/>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8" name="Text Placeholder 2">
            <a:extLst>
              <a:ext uri="{FF2B5EF4-FFF2-40B4-BE49-F238E27FC236}">
                <a16:creationId xmlns:a16="http://schemas.microsoft.com/office/drawing/2014/main" id="{84B604C3-6C3B-9F94-12EB-AFC77D2E40B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9" name="Text Placeholder 2">
            <a:extLst>
              <a:ext uri="{FF2B5EF4-FFF2-40B4-BE49-F238E27FC236}">
                <a16:creationId xmlns:a16="http://schemas.microsoft.com/office/drawing/2014/main" id="{E1756419-BFC5-6553-7598-DC23B78DE5AA}"/>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0" name="Text Placeholder 2">
            <a:extLst>
              <a:ext uri="{FF2B5EF4-FFF2-40B4-BE49-F238E27FC236}">
                <a16:creationId xmlns:a16="http://schemas.microsoft.com/office/drawing/2014/main" id="{8A71F5DA-C468-B1C0-F3DD-1F158CFB3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1" name="Text Placeholder 2">
            <a:extLst>
              <a:ext uri="{FF2B5EF4-FFF2-40B4-BE49-F238E27FC236}">
                <a16:creationId xmlns:a16="http://schemas.microsoft.com/office/drawing/2014/main" id="{6335B1BF-DC70-E268-A3F4-DA8B241A34C6}"/>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2" name="Text Placeholder 21">
            <a:extLst>
              <a:ext uri="{FF2B5EF4-FFF2-40B4-BE49-F238E27FC236}">
                <a16:creationId xmlns:a16="http://schemas.microsoft.com/office/drawing/2014/main" id="{E7843CCF-4845-F834-60D3-4726164A11CF}"/>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3" name="Text Placeholder 21">
            <a:extLst>
              <a:ext uri="{FF2B5EF4-FFF2-40B4-BE49-F238E27FC236}">
                <a16:creationId xmlns:a16="http://schemas.microsoft.com/office/drawing/2014/main" id="{B352A1C6-E6B6-22D2-2382-5D0A0CA2B7A1}"/>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4" name="Text Placeholder 21">
            <a:extLst>
              <a:ext uri="{FF2B5EF4-FFF2-40B4-BE49-F238E27FC236}">
                <a16:creationId xmlns:a16="http://schemas.microsoft.com/office/drawing/2014/main" id="{12E4163C-A39B-D460-631B-05764823AC1C}"/>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5" name="Text Placeholder 21">
            <a:extLst>
              <a:ext uri="{FF2B5EF4-FFF2-40B4-BE49-F238E27FC236}">
                <a16:creationId xmlns:a16="http://schemas.microsoft.com/office/drawing/2014/main" id="{368438C1-C0E2-DA37-A9D8-B1AB7885488C}"/>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6" name="Text Placeholder 21">
            <a:extLst>
              <a:ext uri="{FF2B5EF4-FFF2-40B4-BE49-F238E27FC236}">
                <a16:creationId xmlns:a16="http://schemas.microsoft.com/office/drawing/2014/main" id="{65B89D6E-D6EA-5A74-9FA4-E96E91A4636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7" name="Text Placeholder 21">
            <a:extLst>
              <a:ext uri="{FF2B5EF4-FFF2-40B4-BE49-F238E27FC236}">
                <a16:creationId xmlns:a16="http://schemas.microsoft.com/office/drawing/2014/main" id="{63B7A4AE-9AC1-F2FB-0CD5-4ECDF2CF3A82}"/>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8" name="Text Placeholder 2">
            <a:extLst>
              <a:ext uri="{FF2B5EF4-FFF2-40B4-BE49-F238E27FC236}">
                <a16:creationId xmlns:a16="http://schemas.microsoft.com/office/drawing/2014/main" id="{47E1E323-BD74-235D-251C-AAE76D0D980E}"/>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9" name="Text Placeholder 2">
            <a:extLst>
              <a:ext uri="{FF2B5EF4-FFF2-40B4-BE49-F238E27FC236}">
                <a16:creationId xmlns:a16="http://schemas.microsoft.com/office/drawing/2014/main" id="{7896F866-6B76-1547-C63E-CE6D08D7B2B5}"/>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0" name="Text Placeholder 2">
            <a:extLst>
              <a:ext uri="{FF2B5EF4-FFF2-40B4-BE49-F238E27FC236}">
                <a16:creationId xmlns:a16="http://schemas.microsoft.com/office/drawing/2014/main" id="{433996F5-6712-B6BF-0195-EF5D14D2290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1" name="Text Placeholder 2">
            <a:extLst>
              <a:ext uri="{FF2B5EF4-FFF2-40B4-BE49-F238E27FC236}">
                <a16:creationId xmlns:a16="http://schemas.microsoft.com/office/drawing/2014/main" id="{9C21777B-6FA6-0D00-6D72-B63E5DF84E86}"/>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2" name="Text Placeholder 2">
            <a:extLst>
              <a:ext uri="{FF2B5EF4-FFF2-40B4-BE49-F238E27FC236}">
                <a16:creationId xmlns:a16="http://schemas.microsoft.com/office/drawing/2014/main" id="{4F556839-C49E-67D0-9019-B484470DA14C}"/>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3" name="Text Placeholder 2">
            <a:extLst>
              <a:ext uri="{FF2B5EF4-FFF2-40B4-BE49-F238E27FC236}">
                <a16:creationId xmlns:a16="http://schemas.microsoft.com/office/drawing/2014/main" id="{E8193060-4B11-6025-EF25-18E9C03C7FD9}"/>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4" name="Text Placeholder 21">
            <a:extLst>
              <a:ext uri="{FF2B5EF4-FFF2-40B4-BE49-F238E27FC236}">
                <a16:creationId xmlns:a16="http://schemas.microsoft.com/office/drawing/2014/main" id="{70200C63-D39C-62E1-E1BD-A0550FE99832}"/>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5" name="Text Placeholder 21">
            <a:extLst>
              <a:ext uri="{FF2B5EF4-FFF2-40B4-BE49-F238E27FC236}">
                <a16:creationId xmlns:a16="http://schemas.microsoft.com/office/drawing/2014/main" id="{2D50C9DB-55A5-BC35-1C03-FAF67956124C}"/>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6" name="Text Placeholder 21">
            <a:extLst>
              <a:ext uri="{FF2B5EF4-FFF2-40B4-BE49-F238E27FC236}">
                <a16:creationId xmlns:a16="http://schemas.microsoft.com/office/drawing/2014/main" id="{4D4E6B6F-B736-4445-97C5-7D838FE8EAB0}"/>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7" name="Text Placeholder 21">
            <a:extLst>
              <a:ext uri="{FF2B5EF4-FFF2-40B4-BE49-F238E27FC236}">
                <a16:creationId xmlns:a16="http://schemas.microsoft.com/office/drawing/2014/main" id="{390F9CC4-AEA4-D365-6A60-24FFC1AFC7C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6" name="Text Placeholder 21">
            <a:extLst>
              <a:ext uri="{FF2B5EF4-FFF2-40B4-BE49-F238E27FC236}">
                <a16:creationId xmlns:a16="http://schemas.microsoft.com/office/drawing/2014/main" id="{67F7063C-19DB-5C26-5746-6879F83C3A19}"/>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7" name="Text Placeholder 21">
            <a:extLst>
              <a:ext uri="{FF2B5EF4-FFF2-40B4-BE49-F238E27FC236}">
                <a16:creationId xmlns:a16="http://schemas.microsoft.com/office/drawing/2014/main" id="{26EAFF2F-FF1D-84A7-15B0-852350C4AD4B}"/>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8" name="Text Placeholder 2">
            <a:extLst>
              <a:ext uri="{FF2B5EF4-FFF2-40B4-BE49-F238E27FC236}">
                <a16:creationId xmlns:a16="http://schemas.microsoft.com/office/drawing/2014/main" id="{8BA091E4-DED7-FFE5-0417-AE7E95B4E437}"/>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9" name="Text Placeholder 2">
            <a:extLst>
              <a:ext uri="{FF2B5EF4-FFF2-40B4-BE49-F238E27FC236}">
                <a16:creationId xmlns:a16="http://schemas.microsoft.com/office/drawing/2014/main" id="{64EED931-048C-116F-2DA9-D1E9455485FC}"/>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0" name="Text Placeholder 2">
            <a:extLst>
              <a:ext uri="{FF2B5EF4-FFF2-40B4-BE49-F238E27FC236}">
                <a16:creationId xmlns:a16="http://schemas.microsoft.com/office/drawing/2014/main" id="{9E96DB6C-51A4-E006-6ED7-71E4C11BB305}"/>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1" name="Text Placeholder 2">
            <a:extLst>
              <a:ext uri="{FF2B5EF4-FFF2-40B4-BE49-F238E27FC236}">
                <a16:creationId xmlns:a16="http://schemas.microsoft.com/office/drawing/2014/main" id="{8803044B-CC30-50B7-1FED-6F453D5164AC}"/>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2" name="Text Placeholder 2">
            <a:extLst>
              <a:ext uri="{FF2B5EF4-FFF2-40B4-BE49-F238E27FC236}">
                <a16:creationId xmlns:a16="http://schemas.microsoft.com/office/drawing/2014/main" id="{AEAB5D31-963F-0613-9D8A-638CBC65CB9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3" name="Text Placeholder 2">
            <a:extLst>
              <a:ext uri="{FF2B5EF4-FFF2-40B4-BE49-F238E27FC236}">
                <a16:creationId xmlns:a16="http://schemas.microsoft.com/office/drawing/2014/main" id="{70DB5339-B8F2-6422-7396-8FDDAC78EE5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4" name="Text Placeholder 21">
            <a:extLst>
              <a:ext uri="{FF2B5EF4-FFF2-40B4-BE49-F238E27FC236}">
                <a16:creationId xmlns:a16="http://schemas.microsoft.com/office/drawing/2014/main" id="{BB48CB48-2348-AA08-684D-691EA8334260}"/>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5" name="Text Placeholder 21">
            <a:extLst>
              <a:ext uri="{FF2B5EF4-FFF2-40B4-BE49-F238E27FC236}">
                <a16:creationId xmlns:a16="http://schemas.microsoft.com/office/drawing/2014/main" id="{11359015-B4A7-2A5E-F5FE-FE99081E92E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6" name="Text Placeholder 21">
            <a:extLst>
              <a:ext uri="{FF2B5EF4-FFF2-40B4-BE49-F238E27FC236}">
                <a16:creationId xmlns:a16="http://schemas.microsoft.com/office/drawing/2014/main" id="{8F8812B0-2764-FDDE-BAB4-BE4F9751DB37}"/>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7" name="Text Placeholder 21">
            <a:extLst>
              <a:ext uri="{FF2B5EF4-FFF2-40B4-BE49-F238E27FC236}">
                <a16:creationId xmlns:a16="http://schemas.microsoft.com/office/drawing/2014/main" id="{9644F70F-7A79-15C9-88C6-71D4518C46F8}"/>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8" name="Text Placeholder 21">
            <a:extLst>
              <a:ext uri="{FF2B5EF4-FFF2-40B4-BE49-F238E27FC236}">
                <a16:creationId xmlns:a16="http://schemas.microsoft.com/office/drawing/2014/main" id="{72E460A6-1C64-B0A3-B829-A70235E5620B}"/>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9" name="Text Placeholder 21">
            <a:extLst>
              <a:ext uri="{FF2B5EF4-FFF2-40B4-BE49-F238E27FC236}">
                <a16:creationId xmlns:a16="http://schemas.microsoft.com/office/drawing/2014/main" id="{3E65988F-C66A-3F39-E98C-74C07E64D330}"/>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0" name="Text Placeholder 2">
            <a:extLst>
              <a:ext uri="{FF2B5EF4-FFF2-40B4-BE49-F238E27FC236}">
                <a16:creationId xmlns:a16="http://schemas.microsoft.com/office/drawing/2014/main" id="{06AC8E52-B2C9-4B56-BD69-6EE4B32EFBA6}"/>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1" name="Text Placeholder 2">
            <a:extLst>
              <a:ext uri="{FF2B5EF4-FFF2-40B4-BE49-F238E27FC236}">
                <a16:creationId xmlns:a16="http://schemas.microsoft.com/office/drawing/2014/main" id="{471BFD3C-7F95-D5D9-E7A2-4FC384B48DB8}"/>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
            <a:extLst>
              <a:ext uri="{FF2B5EF4-FFF2-40B4-BE49-F238E27FC236}">
                <a16:creationId xmlns:a16="http://schemas.microsoft.com/office/drawing/2014/main" id="{023A4B65-33D4-88FC-0764-CCA2D19B5956}"/>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3" name="Text Placeholder 2">
            <a:extLst>
              <a:ext uri="{FF2B5EF4-FFF2-40B4-BE49-F238E27FC236}">
                <a16:creationId xmlns:a16="http://schemas.microsoft.com/office/drawing/2014/main" id="{DF19030A-6924-C951-17F3-D194ABCE05E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4" name="Text Placeholder 2">
            <a:extLst>
              <a:ext uri="{FF2B5EF4-FFF2-40B4-BE49-F238E27FC236}">
                <a16:creationId xmlns:a16="http://schemas.microsoft.com/office/drawing/2014/main" id="{FDB5A38F-92D0-F0AA-1EB6-765F8BC29324}"/>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5" name="Text Placeholder 2">
            <a:extLst>
              <a:ext uri="{FF2B5EF4-FFF2-40B4-BE49-F238E27FC236}">
                <a16:creationId xmlns:a16="http://schemas.microsoft.com/office/drawing/2014/main" id="{5B8813B2-9C77-F25B-D735-552A4C4A39C3}"/>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6" name="Text Placeholder 21">
            <a:extLst>
              <a:ext uri="{FF2B5EF4-FFF2-40B4-BE49-F238E27FC236}">
                <a16:creationId xmlns:a16="http://schemas.microsoft.com/office/drawing/2014/main" id="{961AFC16-2C69-40DC-7731-2F9CFE379906}"/>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F1CAC1F1-D09E-E608-6675-29674E3A0DFB}"/>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1">
            <a:extLst>
              <a:ext uri="{FF2B5EF4-FFF2-40B4-BE49-F238E27FC236}">
                <a16:creationId xmlns:a16="http://schemas.microsoft.com/office/drawing/2014/main" id="{0496FE1E-032D-2C28-AB64-691E36B2A304}"/>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9" name="Text Placeholder 21">
            <a:extLst>
              <a:ext uri="{FF2B5EF4-FFF2-40B4-BE49-F238E27FC236}">
                <a16:creationId xmlns:a16="http://schemas.microsoft.com/office/drawing/2014/main" id="{860B7D10-0781-DDA4-8FC5-CDF8C11FC9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0" name="Text Placeholder 21">
            <a:extLst>
              <a:ext uri="{FF2B5EF4-FFF2-40B4-BE49-F238E27FC236}">
                <a16:creationId xmlns:a16="http://schemas.microsoft.com/office/drawing/2014/main" id="{40509A2A-13A3-7A78-F7AA-2CCF795CBB37}"/>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1" name="Text Placeholder 21">
            <a:extLst>
              <a:ext uri="{FF2B5EF4-FFF2-40B4-BE49-F238E27FC236}">
                <a16:creationId xmlns:a16="http://schemas.microsoft.com/office/drawing/2014/main" id="{C684DA59-43E9-5937-E4ED-4F6AC107163D}"/>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2" name="Text Placeholder 21">
            <a:extLst>
              <a:ext uri="{FF2B5EF4-FFF2-40B4-BE49-F238E27FC236}">
                <a16:creationId xmlns:a16="http://schemas.microsoft.com/office/drawing/2014/main" id="{77323B47-D111-709C-7EC7-DDDFF492DB98}"/>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3" name="Text Placeholder 2">
            <a:extLst>
              <a:ext uri="{FF2B5EF4-FFF2-40B4-BE49-F238E27FC236}">
                <a16:creationId xmlns:a16="http://schemas.microsoft.com/office/drawing/2014/main" id="{21A09B03-06C9-AAF9-7D76-FE66BB541D8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4" name="Text Placeholder 2">
            <a:extLst>
              <a:ext uri="{FF2B5EF4-FFF2-40B4-BE49-F238E27FC236}">
                <a16:creationId xmlns:a16="http://schemas.microsoft.com/office/drawing/2014/main" id="{4E9BA23C-A2CF-F08A-E36A-2933323520C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5" name="Text Placeholder 2">
            <a:extLst>
              <a:ext uri="{FF2B5EF4-FFF2-40B4-BE49-F238E27FC236}">
                <a16:creationId xmlns:a16="http://schemas.microsoft.com/office/drawing/2014/main" id="{C7AA25DC-67FF-41BF-9276-9D7B46847E4D}"/>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6" name="Text Placeholder 2">
            <a:extLst>
              <a:ext uri="{FF2B5EF4-FFF2-40B4-BE49-F238E27FC236}">
                <a16:creationId xmlns:a16="http://schemas.microsoft.com/office/drawing/2014/main" id="{1DF005BE-55AD-30A2-F229-6FCF6384AAF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7" name="Text Placeholder 2">
            <a:extLst>
              <a:ext uri="{FF2B5EF4-FFF2-40B4-BE49-F238E27FC236}">
                <a16:creationId xmlns:a16="http://schemas.microsoft.com/office/drawing/2014/main" id="{6FB3D53A-45A7-6656-38BB-B1DCB5317BE6}"/>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36958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ebruary">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2" name="Text Placeholder 21">
            <a:extLst>
              <a:ext uri="{FF2B5EF4-FFF2-40B4-BE49-F238E27FC236}">
                <a16:creationId xmlns:a16="http://schemas.microsoft.com/office/drawing/2014/main" id="{81867981-E740-E177-F18A-A1F53501751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3" name="Text Placeholder 21">
            <a:extLst>
              <a:ext uri="{FF2B5EF4-FFF2-40B4-BE49-F238E27FC236}">
                <a16:creationId xmlns:a16="http://schemas.microsoft.com/office/drawing/2014/main" id="{A5F07174-EC58-421C-30FE-BAA99C791BE4}"/>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4" name="Text Placeholder 21">
            <a:extLst>
              <a:ext uri="{FF2B5EF4-FFF2-40B4-BE49-F238E27FC236}">
                <a16:creationId xmlns:a16="http://schemas.microsoft.com/office/drawing/2014/main" id="{E202016D-683F-060D-3172-D434B821CBCA}"/>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5" name="Text Placeholder 21">
            <a:extLst>
              <a:ext uri="{FF2B5EF4-FFF2-40B4-BE49-F238E27FC236}">
                <a16:creationId xmlns:a16="http://schemas.microsoft.com/office/drawing/2014/main" id="{F81D7778-9224-E26E-DB52-D52D030173EE}"/>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6" name="Text Placeholder 21">
            <a:extLst>
              <a:ext uri="{FF2B5EF4-FFF2-40B4-BE49-F238E27FC236}">
                <a16:creationId xmlns:a16="http://schemas.microsoft.com/office/drawing/2014/main" id="{515434F3-00CD-3819-33E1-99C31A4C6E05}"/>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7" name="Text Placeholder 21">
            <a:extLst>
              <a:ext uri="{FF2B5EF4-FFF2-40B4-BE49-F238E27FC236}">
                <a16:creationId xmlns:a16="http://schemas.microsoft.com/office/drawing/2014/main" id="{D26442AF-38BA-5921-5E87-9A20A3BF9100}"/>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8" name="Text Placeholder 2">
            <a:extLst>
              <a:ext uri="{FF2B5EF4-FFF2-40B4-BE49-F238E27FC236}">
                <a16:creationId xmlns:a16="http://schemas.microsoft.com/office/drawing/2014/main" id="{4E8C0746-77DA-DD7C-973E-3C63A8BDED4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9" name="Text Placeholder 2">
            <a:extLst>
              <a:ext uri="{FF2B5EF4-FFF2-40B4-BE49-F238E27FC236}">
                <a16:creationId xmlns:a16="http://schemas.microsoft.com/office/drawing/2014/main" id="{E0BD37DD-1FC8-9582-4C3C-CEC72EA16D21}"/>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0" name="Text Placeholder 2">
            <a:extLst>
              <a:ext uri="{FF2B5EF4-FFF2-40B4-BE49-F238E27FC236}">
                <a16:creationId xmlns:a16="http://schemas.microsoft.com/office/drawing/2014/main" id="{E6C51849-0AB8-31D4-726C-568CB72E7C6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1" name="Text Placeholder 2">
            <a:extLst>
              <a:ext uri="{FF2B5EF4-FFF2-40B4-BE49-F238E27FC236}">
                <a16:creationId xmlns:a16="http://schemas.microsoft.com/office/drawing/2014/main" id="{82FB73D3-442F-14AB-0CFB-74265C948754}"/>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2" name="Text Placeholder 2">
            <a:extLst>
              <a:ext uri="{FF2B5EF4-FFF2-40B4-BE49-F238E27FC236}">
                <a16:creationId xmlns:a16="http://schemas.microsoft.com/office/drawing/2014/main" id="{FC6CFDA3-A7D4-4820-32B9-399D5002403A}"/>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3" name="Text Placeholder 2">
            <a:extLst>
              <a:ext uri="{FF2B5EF4-FFF2-40B4-BE49-F238E27FC236}">
                <a16:creationId xmlns:a16="http://schemas.microsoft.com/office/drawing/2014/main" id="{4ED38853-A3A5-F226-B49E-05A38B55415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4" name="Text Placeholder 21">
            <a:extLst>
              <a:ext uri="{FF2B5EF4-FFF2-40B4-BE49-F238E27FC236}">
                <a16:creationId xmlns:a16="http://schemas.microsoft.com/office/drawing/2014/main" id="{88BF68E7-ED6F-FC9D-A677-D4639E98FB96}"/>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5" name="Text Placeholder 21">
            <a:extLst>
              <a:ext uri="{FF2B5EF4-FFF2-40B4-BE49-F238E27FC236}">
                <a16:creationId xmlns:a16="http://schemas.microsoft.com/office/drawing/2014/main" id="{8536A5CC-6919-C346-8278-48089D94E7D6}"/>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6" name="Text Placeholder 21">
            <a:extLst>
              <a:ext uri="{FF2B5EF4-FFF2-40B4-BE49-F238E27FC236}">
                <a16:creationId xmlns:a16="http://schemas.microsoft.com/office/drawing/2014/main" id="{795BBD97-7D8B-E8E2-4056-AC4565C7C724}"/>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7" name="Text Placeholder 21">
            <a:extLst>
              <a:ext uri="{FF2B5EF4-FFF2-40B4-BE49-F238E27FC236}">
                <a16:creationId xmlns:a16="http://schemas.microsoft.com/office/drawing/2014/main" id="{CCFB0E0B-66C7-5044-CD33-EF6B6A19E44C}"/>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8" name="Text Placeholder 21">
            <a:extLst>
              <a:ext uri="{FF2B5EF4-FFF2-40B4-BE49-F238E27FC236}">
                <a16:creationId xmlns:a16="http://schemas.microsoft.com/office/drawing/2014/main" id="{60D7F6EE-450B-E6D9-AFEF-21316CB2D26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9" name="Text Placeholder 21">
            <a:extLst>
              <a:ext uri="{FF2B5EF4-FFF2-40B4-BE49-F238E27FC236}">
                <a16:creationId xmlns:a16="http://schemas.microsoft.com/office/drawing/2014/main" id="{69828F59-EC53-7823-CCAA-A5744FDD4F0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0" name="Text Placeholder 2">
            <a:extLst>
              <a:ext uri="{FF2B5EF4-FFF2-40B4-BE49-F238E27FC236}">
                <a16:creationId xmlns:a16="http://schemas.microsoft.com/office/drawing/2014/main" id="{8884FA05-DE73-C3B5-4B80-8236CDA7423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1" name="Text Placeholder 2">
            <a:extLst>
              <a:ext uri="{FF2B5EF4-FFF2-40B4-BE49-F238E27FC236}">
                <a16:creationId xmlns:a16="http://schemas.microsoft.com/office/drawing/2014/main" id="{7BC44892-8B41-24EC-A62E-EEAD897A0F9E}"/>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2" name="Text Placeholder 2">
            <a:extLst>
              <a:ext uri="{FF2B5EF4-FFF2-40B4-BE49-F238E27FC236}">
                <a16:creationId xmlns:a16="http://schemas.microsoft.com/office/drawing/2014/main" id="{300BE16C-D0A6-BBB8-0B44-662CB27DADE9}"/>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3" name="Text Placeholder 2">
            <a:extLst>
              <a:ext uri="{FF2B5EF4-FFF2-40B4-BE49-F238E27FC236}">
                <a16:creationId xmlns:a16="http://schemas.microsoft.com/office/drawing/2014/main" id="{B6F01CD9-BBDF-39D9-0674-325ABFA7DAE4}"/>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4" name="Text Placeholder 2">
            <a:extLst>
              <a:ext uri="{FF2B5EF4-FFF2-40B4-BE49-F238E27FC236}">
                <a16:creationId xmlns:a16="http://schemas.microsoft.com/office/drawing/2014/main" id="{DFFAD1B6-166C-A334-731A-6941781E6396}"/>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5" name="Text Placeholder 2">
            <a:extLst>
              <a:ext uri="{FF2B5EF4-FFF2-40B4-BE49-F238E27FC236}">
                <a16:creationId xmlns:a16="http://schemas.microsoft.com/office/drawing/2014/main" id="{56A091F5-5825-7F0D-8038-1E050FE49F20}"/>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6" name="Text Placeholder 21">
            <a:extLst>
              <a:ext uri="{FF2B5EF4-FFF2-40B4-BE49-F238E27FC236}">
                <a16:creationId xmlns:a16="http://schemas.microsoft.com/office/drawing/2014/main" id="{F948C0F9-1A23-4FCF-0659-4230990A5BA3}"/>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7" name="Text Placeholder 21">
            <a:extLst>
              <a:ext uri="{FF2B5EF4-FFF2-40B4-BE49-F238E27FC236}">
                <a16:creationId xmlns:a16="http://schemas.microsoft.com/office/drawing/2014/main" id="{7D13D0DD-4F7E-3093-483E-1A84B89F9CCE}"/>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8" name="Text Placeholder 21">
            <a:extLst>
              <a:ext uri="{FF2B5EF4-FFF2-40B4-BE49-F238E27FC236}">
                <a16:creationId xmlns:a16="http://schemas.microsoft.com/office/drawing/2014/main" id="{635EFA66-5B30-9D10-C3BF-894ACBA78B4B}"/>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9" name="Text Placeholder 21">
            <a:extLst>
              <a:ext uri="{FF2B5EF4-FFF2-40B4-BE49-F238E27FC236}">
                <a16:creationId xmlns:a16="http://schemas.microsoft.com/office/drawing/2014/main" id="{AAEA7A56-8F9D-EC07-0205-320A91CA5070}"/>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0" name="Text Placeholder 21">
            <a:extLst>
              <a:ext uri="{FF2B5EF4-FFF2-40B4-BE49-F238E27FC236}">
                <a16:creationId xmlns:a16="http://schemas.microsoft.com/office/drawing/2014/main" id="{BD1AC00A-0673-92FD-E9F4-262336078E35}"/>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1" name="Text Placeholder 21">
            <a:extLst>
              <a:ext uri="{FF2B5EF4-FFF2-40B4-BE49-F238E27FC236}">
                <a16:creationId xmlns:a16="http://schemas.microsoft.com/office/drawing/2014/main" id="{0D6B694D-6912-2895-8D9B-46954606446A}"/>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2" name="Text Placeholder 2">
            <a:extLst>
              <a:ext uri="{FF2B5EF4-FFF2-40B4-BE49-F238E27FC236}">
                <a16:creationId xmlns:a16="http://schemas.microsoft.com/office/drawing/2014/main" id="{EDD714D7-4BF6-4E1A-08EB-0307E494ACC5}"/>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3" name="Text Placeholder 2">
            <a:extLst>
              <a:ext uri="{FF2B5EF4-FFF2-40B4-BE49-F238E27FC236}">
                <a16:creationId xmlns:a16="http://schemas.microsoft.com/office/drawing/2014/main" id="{4E52A7D8-66D9-634D-ECBC-934C8768E704}"/>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4" name="Text Placeholder 2">
            <a:extLst>
              <a:ext uri="{FF2B5EF4-FFF2-40B4-BE49-F238E27FC236}">
                <a16:creationId xmlns:a16="http://schemas.microsoft.com/office/drawing/2014/main" id="{72994B9C-F272-2BCF-6AFA-2289C4D3E16A}"/>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5" name="Text Placeholder 2">
            <a:extLst>
              <a:ext uri="{FF2B5EF4-FFF2-40B4-BE49-F238E27FC236}">
                <a16:creationId xmlns:a16="http://schemas.microsoft.com/office/drawing/2014/main" id="{26011C4D-2F0B-09E0-BDE5-95DF75FA335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6" name="Text Placeholder 2">
            <a:extLst>
              <a:ext uri="{FF2B5EF4-FFF2-40B4-BE49-F238E27FC236}">
                <a16:creationId xmlns:a16="http://schemas.microsoft.com/office/drawing/2014/main" id="{98ADD2C8-D4AB-E02C-5E8C-FD77BF3ACF57}"/>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7" name="Text Placeholder 2">
            <a:extLst>
              <a:ext uri="{FF2B5EF4-FFF2-40B4-BE49-F238E27FC236}">
                <a16:creationId xmlns:a16="http://schemas.microsoft.com/office/drawing/2014/main" id="{32E11DA6-B24D-77AD-A9EF-0ECD334AC6D2}"/>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8" name="Text Placeholder 21">
            <a:extLst>
              <a:ext uri="{FF2B5EF4-FFF2-40B4-BE49-F238E27FC236}">
                <a16:creationId xmlns:a16="http://schemas.microsoft.com/office/drawing/2014/main" id="{A601C23B-F664-0435-059E-3C36174BB05D}"/>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9" name="Text Placeholder 21">
            <a:extLst>
              <a:ext uri="{FF2B5EF4-FFF2-40B4-BE49-F238E27FC236}">
                <a16:creationId xmlns:a16="http://schemas.microsoft.com/office/drawing/2014/main" id="{3A4881E9-B59D-744D-7680-6241CD53C8AB}"/>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0" name="Text Placeholder 21">
            <a:extLst>
              <a:ext uri="{FF2B5EF4-FFF2-40B4-BE49-F238E27FC236}">
                <a16:creationId xmlns:a16="http://schemas.microsoft.com/office/drawing/2014/main" id="{7273B227-E524-C8E2-90A1-FA3B95A3DD1C}"/>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1" name="Text Placeholder 21">
            <a:extLst>
              <a:ext uri="{FF2B5EF4-FFF2-40B4-BE49-F238E27FC236}">
                <a16:creationId xmlns:a16="http://schemas.microsoft.com/office/drawing/2014/main" id="{324344DA-C059-F99B-09C6-D81B747381A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2" name="Text Placeholder 21">
            <a:extLst>
              <a:ext uri="{FF2B5EF4-FFF2-40B4-BE49-F238E27FC236}">
                <a16:creationId xmlns:a16="http://schemas.microsoft.com/office/drawing/2014/main" id="{0F61582E-E252-C13F-6ABA-AB88C0429DD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3" name="Text Placeholder 21">
            <a:extLst>
              <a:ext uri="{FF2B5EF4-FFF2-40B4-BE49-F238E27FC236}">
                <a16:creationId xmlns:a16="http://schemas.microsoft.com/office/drawing/2014/main" id="{391F282F-66C5-8ED2-0730-8971458F2765}"/>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4" name="Text Placeholder 2">
            <a:extLst>
              <a:ext uri="{FF2B5EF4-FFF2-40B4-BE49-F238E27FC236}">
                <a16:creationId xmlns:a16="http://schemas.microsoft.com/office/drawing/2014/main" id="{AD5DD904-297F-E17A-5CD3-8CF827125CC4}"/>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5" name="Text Placeholder 2">
            <a:extLst>
              <a:ext uri="{FF2B5EF4-FFF2-40B4-BE49-F238E27FC236}">
                <a16:creationId xmlns:a16="http://schemas.microsoft.com/office/drawing/2014/main" id="{1D51F7ED-2BE6-9064-F24E-D930BC69B5DE}"/>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6" name="Text Placeholder 2">
            <a:extLst>
              <a:ext uri="{FF2B5EF4-FFF2-40B4-BE49-F238E27FC236}">
                <a16:creationId xmlns:a16="http://schemas.microsoft.com/office/drawing/2014/main" id="{29FD58FB-A03F-4C1F-68B0-8518C949FE6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7" name="Text Placeholder 2">
            <a:extLst>
              <a:ext uri="{FF2B5EF4-FFF2-40B4-BE49-F238E27FC236}">
                <a16:creationId xmlns:a16="http://schemas.microsoft.com/office/drawing/2014/main" id="{E8F4FC4B-6FC4-1EDE-6B4C-A44802DE6AD8}"/>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6" name="Text Placeholder 2">
            <a:extLst>
              <a:ext uri="{FF2B5EF4-FFF2-40B4-BE49-F238E27FC236}">
                <a16:creationId xmlns:a16="http://schemas.microsoft.com/office/drawing/2014/main" id="{6880872B-8BF0-1A64-5C61-306F45CCF40D}"/>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7" name="Text Placeholder 2">
            <a:extLst>
              <a:ext uri="{FF2B5EF4-FFF2-40B4-BE49-F238E27FC236}">
                <a16:creationId xmlns:a16="http://schemas.microsoft.com/office/drawing/2014/main" id="{2E2E55A4-346B-3049-D40A-C45DD40E0A84}"/>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8" name="Text Placeholder 21">
            <a:extLst>
              <a:ext uri="{FF2B5EF4-FFF2-40B4-BE49-F238E27FC236}">
                <a16:creationId xmlns:a16="http://schemas.microsoft.com/office/drawing/2014/main" id="{4432F617-154F-B4BC-484E-617AD0CBBBE5}"/>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9" name="Text Placeholder 21">
            <a:extLst>
              <a:ext uri="{FF2B5EF4-FFF2-40B4-BE49-F238E27FC236}">
                <a16:creationId xmlns:a16="http://schemas.microsoft.com/office/drawing/2014/main" id="{22D314A6-F9FE-F10D-A434-EC0D5A85398D}"/>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0" name="Text Placeholder 21">
            <a:extLst>
              <a:ext uri="{FF2B5EF4-FFF2-40B4-BE49-F238E27FC236}">
                <a16:creationId xmlns:a16="http://schemas.microsoft.com/office/drawing/2014/main" id="{A6017F4C-6C3E-4AEF-4DCD-B7A18CF8E2F1}"/>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1" name="Text Placeholder 21">
            <a:extLst>
              <a:ext uri="{FF2B5EF4-FFF2-40B4-BE49-F238E27FC236}">
                <a16:creationId xmlns:a16="http://schemas.microsoft.com/office/drawing/2014/main" id="{E581266A-17F0-9B0E-EB5C-216CB1B6B51E}"/>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2" name="Text Placeholder 21">
            <a:extLst>
              <a:ext uri="{FF2B5EF4-FFF2-40B4-BE49-F238E27FC236}">
                <a16:creationId xmlns:a16="http://schemas.microsoft.com/office/drawing/2014/main" id="{5F6160BC-CEF6-C12B-4D31-87623C1CB725}"/>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3" name="Text Placeholder 21">
            <a:extLst>
              <a:ext uri="{FF2B5EF4-FFF2-40B4-BE49-F238E27FC236}">
                <a16:creationId xmlns:a16="http://schemas.microsoft.com/office/drawing/2014/main" id="{CC9C72E4-2E08-EBBD-A4F5-04BAF2B117F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4" name="Text Placeholder 2">
            <a:extLst>
              <a:ext uri="{FF2B5EF4-FFF2-40B4-BE49-F238E27FC236}">
                <a16:creationId xmlns:a16="http://schemas.microsoft.com/office/drawing/2014/main" id="{0383E527-84E1-3DA5-0AA3-6A4D31A797A2}"/>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5" name="Text Placeholder 2">
            <a:extLst>
              <a:ext uri="{FF2B5EF4-FFF2-40B4-BE49-F238E27FC236}">
                <a16:creationId xmlns:a16="http://schemas.microsoft.com/office/drawing/2014/main" id="{AEAC77A4-133A-D44F-C244-4A39CF3DB3E3}"/>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6" name="Text Placeholder 2">
            <a:extLst>
              <a:ext uri="{FF2B5EF4-FFF2-40B4-BE49-F238E27FC236}">
                <a16:creationId xmlns:a16="http://schemas.microsoft.com/office/drawing/2014/main" id="{F4BDD8B4-F5A5-8DF2-195D-2CC66DC16BE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7" name="Text Placeholder 2">
            <a:extLst>
              <a:ext uri="{FF2B5EF4-FFF2-40B4-BE49-F238E27FC236}">
                <a16:creationId xmlns:a16="http://schemas.microsoft.com/office/drawing/2014/main" id="{C556C2C8-F9FA-040D-1860-283FF44CE73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8" name="Text Placeholder 2">
            <a:extLst>
              <a:ext uri="{FF2B5EF4-FFF2-40B4-BE49-F238E27FC236}">
                <a16:creationId xmlns:a16="http://schemas.microsoft.com/office/drawing/2014/main" id="{3A45FBCF-5423-4DC0-30CC-7F2BF9CB477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9" name="Text Placeholder 2">
            <a:extLst>
              <a:ext uri="{FF2B5EF4-FFF2-40B4-BE49-F238E27FC236}">
                <a16:creationId xmlns:a16="http://schemas.microsoft.com/office/drawing/2014/main" id="{106D6837-73C7-4359-8029-8297CC97EA0F}"/>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0" name="Text Placeholder 21">
            <a:extLst>
              <a:ext uri="{FF2B5EF4-FFF2-40B4-BE49-F238E27FC236}">
                <a16:creationId xmlns:a16="http://schemas.microsoft.com/office/drawing/2014/main" id="{1ECD3C8C-BB4E-E440-4CCC-B78B0F5472AF}"/>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1" name="Text Placeholder 2">
            <a:extLst>
              <a:ext uri="{FF2B5EF4-FFF2-40B4-BE49-F238E27FC236}">
                <a16:creationId xmlns:a16="http://schemas.microsoft.com/office/drawing/2014/main" id="{2D2F708B-EE2F-6B14-B7E2-0287A16D928F}"/>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1">
            <a:extLst>
              <a:ext uri="{FF2B5EF4-FFF2-40B4-BE49-F238E27FC236}">
                <a16:creationId xmlns:a16="http://schemas.microsoft.com/office/drawing/2014/main" id="{DF1DCDA6-6E22-ADD3-E714-ED3EB525729B}"/>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3" name="Text Placeholder 21">
            <a:extLst>
              <a:ext uri="{FF2B5EF4-FFF2-40B4-BE49-F238E27FC236}">
                <a16:creationId xmlns:a16="http://schemas.microsoft.com/office/drawing/2014/main" id="{20A80515-C4C8-B122-B6AE-064D54A0FD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4" name="Text Placeholder 21">
            <a:extLst>
              <a:ext uri="{FF2B5EF4-FFF2-40B4-BE49-F238E27FC236}">
                <a16:creationId xmlns:a16="http://schemas.microsoft.com/office/drawing/2014/main" id="{5E7F32FC-19FB-9C3B-0EBB-CBD603C0E1BD}"/>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5" name="Text Placeholder 21">
            <a:extLst>
              <a:ext uri="{FF2B5EF4-FFF2-40B4-BE49-F238E27FC236}">
                <a16:creationId xmlns:a16="http://schemas.microsoft.com/office/drawing/2014/main" id="{69FB3330-BD04-92DD-C3C2-21956986F7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6" name="Text Placeholder 21">
            <a:extLst>
              <a:ext uri="{FF2B5EF4-FFF2-40B4-BE49-F238E27FC236}">
                <a16:creationId xmlns:a16="http://schemas.microsoft.com/office/drawing/2014/main" id="{7013CD35-159E-97CA-C7D9-2548E634D81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BE199233-6082-F221-453B-D69BDB6D5AB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
            <a:extLst>
              <a:ext uri="{FF2B5EF4-FFF2-40B4-BE49-F238E27FC236}">
                <a16:creationId xmlns:a16="http://schemas.microsoft.com/office/drawing/2014/main" id="{F6EA5D49-3144-DC4E-077B-662951553B95}"/>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9" name="Text Placeholder 2">
            <a:extLst>
              <a:ext uri="{FF2B5EF4-FFF2-40B4-BE49-F238E27FC236}">
                <a16:creationId xmlns:a16="http://schemas.microsoft.com/office/drawing/2014/main" id="{C009099B-61E9-992C-0BE4-202E04CD584E}"/>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0" name="Text Placeholder 2">
            <a:extLst>
              <a:ext uri="{FF2B5EF4-FFF2-40B4-BE49-F238E27FC236}">
                <a16:creationId xmlns:a16="http://schemas.microsoft.com/office/drawing/2014/main" id="{5EFE00A1-820E-419A-8C31-CB7A4D917D28}"/>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1" name="Text Placeholder 2">
            <a:extLst>
              <a:ext uri="{FF2B5EF4-FFF2-40B4-BE49-F238E27FC236}">
                <a16:creationId xmlns:a16="http://schemas.microsoft.com/office/drawing/2014/main" id="{8CCFE3D7-BBE6-A4BD-0EB9-718DD1A7AA32}"/>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110353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ED6102-FB49-D2BB-0785-B3FD3FE62F93}"/>
              </a:ext>
            </a:extLst>
          </p:cNvPr>
          <p:cNvGrpSpPr/>
          <p:nvPr userDrawn="1"/>
        </p:nvGrpSpPr>
        <p:grpSpPr>
          <a:xfrm>
            <a:off x="8974422" y="2044865"/>
            <a:ext cx="2861978" cy="2947386"/>
            <a:chOff x="8974422" y="2044865"/>
            <a:chExt cx="2861978" cy="2947386"/>
          </a:xfrm>
        </p:grpSpPr>
        <p:grpSp>
          <p:nvGrpSpPr>
            <p:cNvPr id="2" name="Group 94">
              <a:extLst>
                <a:ext uri="{FF2B5EF4-FFF2-40B4-BE49-F238E27FC236}">
                  <a16:creationId xmlns:a16="http://schemas.microsoft.com/office/drawing/2014/main" id="{813CAA63-EAE7-3B3A-3FE0-0AAB5EAA5175}"/>
                </a:ext>
              </a:extLst>
            </p:cNvPr>
            <p:cNvGrpSpPr>
              <a:grpSpLocks noChangeAspect="1"/>
            </p:cNvGrpSpPr>
            <p:nvPr userDrawn="1"/>
          </p:nvGrpSpPr>
          <p:grpSpPr bwMode="auto">
            <a:xfrm>
              <a:off x="8974422" y="3551428"/>
              <a:ext cx="1890211" cy="1440823"/>
              <a:chOff x="2596" y="1948"/>
              <a:chExt cx="408" cy="311"/>
            </a:xfrm>
            <a:solidFill>
              <a:schemeClr val="accent1">
                <a:lumMod val="40000"/>
                <a:lumOff val="60000"/>
              </a:schemeClr>
            </a:solidFill>
          </p:grpSpPr>
          <p:sp>
            <p:nvSpPr>
              <p:cNvPr id="3" name="Freeform 95">
                <a:extLst>
                  <a:ext uri="{FF2B5EF4-FFF2-40B4-BE49-F238E27FC236}">
                    <a16:creationId xmlns:a16="http://schemas.microsoft.com/office/drawing/2014/main" id="{EE1802C5-B02C-A916-15C9-73885CCD0871}"/>
                  </a:ext>
                </a:extLst>
              </p:cNvPr>
              <p:cNvSpPr>
                <a:spLocks noEditPoints="1"/>
              </p:cNvSpPr>
              <p:nvPr/>
            </p:nvSpPr>
            <p:spPr bwMode="auto">
              <a:xfrm>
                <a:off x="2596" y="1948"/>
                <a:ext cx="298" cy="311"/>
              </a:xfrm>
              <a:custGeom>
                <a:avLst/>
                <a:gdLst>
                  <a:gd name="T0" fmla="*/ 171 w 194"/>
                  <a:gd name="T1" fmla="*/ 152 h 208"/>
                  <a:gd name="T2" fmla="*/ 127 w 194"/>
                  <a:gd name="T3" fmla="*/ 136 h 208"/>
                  <a:gd name="T4" fmla="*/ 127 w 194"/>
                  <a:gd name="T5" fmla="*/ 115 h 208"/>
                  <a:gd name="T6" fmla="*/ 149 w 194"/>
                  <a:gd name="T7" fmla="*/ 64 h 208"/>
                  <a:gd name="T8" fmla="*/ 95 w 194"/>
                  <a:gd name="T9" fmla="*/ 0 h 208"/>
                  <a:gd name="T10" fmla="*/ 42 w 194"/>
                  <a:gd name="T11" fmla="*/ 64 h 208"/>
                  <a:gd name="T12" fmla="*/ 66 w 194"/>
                  <a:gd name="T13" fmla="*/ 117 h 208"/>
                  <a:gd name="T14" fmla="*/ 66 w 194"/>
                  <a:gd name="T15" fmla="*/ 136 h 208"/>
                  <a:gd name="T16" fmla="*/ 23 w 194"/>
                  <a:gd name="T17" fmla="*/ 152 h 208"/>
                  <a:gd name="T18" fmla="*/ 0 w 194"/>
                  <a:gd name="T19" fmla="*/ 184 h 208"/>
                  <a:gd name="T20" fmla="*/ 0 w 194"/>
                  <a:gd name="T21" fmla="*/ 202 h 208"/>
                  <a:gd name="T22" fmla="*/ 6 w 194"/>
                  <a:gd name="T23" fmla="*/ 208 h 208"/>
                  <a:gd name="T24" fmla="*/ 188 w 194"/>
                  <a:gd name="T25" fmla="*/ 208 h 208"/>
                  <a:gd name="T26" fmla="*/ 194 w 194"/>
                  <a:gd name="T27" fmla="*/ 202 h 208"/>
                  <a:gd name="T28" fmla="*/ 194 w 194"/>
                  <a:gd name="T29" fmla="*/ 184 h 208"/>
                  <a:gd name="T30" fmla="*/ 171 w 194"/>
                  <a:gd name="T31" fmla="*/ 152 h 208"/>
                  <a:gd name="T32" fmla="*/ 95 w 194"/>
                  <a:gd name="T33" fmla="*/ 12 h 208"/>
                  <a:gd name="T34" fmla="*/ 136 w 194"/>
                  <a:gd name="T35" fmla="*/ 53 h 208"/>
                  <a:gd name="T36" fmla="*/ 108 w 194"/>
                  <a:gd name="T37" fmla="*/ 37 h 208"/>
                  <a:gd name="T38" fmla="*/ 103 w 194"/>
                  <a:gd name="T39" fmla="*/ 34 h 208"/>
                  <a:gd name="T40" fmla="*/ 97 w 194"/>
                  <a:gd name="T41" fmla="*/ 38 h 208"/>
                  <a:gd name="T42" fmla="*/ 67 w 194"/>
                  <a:gd name="T43" fmla="*/ 53 h 208"/>
                  <a:gd name="T44" fmla="*/ 55 w 194"/>
                  <a:gd name="T45" fmla="*/ 51 h 208"/>
                  <a:gd name="T46" fmla="*/ 95 w 194"/>
                  <a:gd name="T47" fmla="*/ 12 h 208"/>
                  <a:gd name="T48" fmla="*/ 54 w 194"/>
                  <a:gd name="T49" fmla="*/ 64 h 208"/>
                  <a:gd name="T50" fmla="*/ 54 w 194"/>
                  <a:gd name="T51" fmla="*/ 63 h 208"/>
                  <a:gd name="T52" fmla="*/ 67 w 194"/>
                  <a:gd name="T53" fmla="*/ 65 h 208"/>
                  <a:gd name="T54" fmla="*/ 102 w 194"/>
                  <a:gd name="T55" fmla="*/ 51 h 208"/>
                  <a:gd name="T56" fmla="*/ 130 w 194"/>
                  <a:gd name="T57" fmla="*/ 66 h 208"/>
                  <a:gd name="T58" fmla="*/ 137 w 194"/>
                  <a:gd name="T59" fmla="*/ 65 h 208"/>
                  <a:gd name="T60" fmla="*/ 95 w 194"/>
                  <a:gd name="T61" fmla="*/ 115 h 208"/>
                  <a:gd name="T62" fmla="*/ 54 w 194"/>
                  <a:gd name="T63" fmla="*/ 64 h 208"/>
                  <a:gd name="T64" fmla="*/ 182 w 194"/>
                  <a:gd name="T65" fmla="*/ 196 h 208"/>
                  <a:gd name="T66" fmla="*/ 12 w 194"/>
                  <a:gd name="T67" fmla="*/ 196 h 208"/>
                  <a:gd name="T68" fmla="*/ 12 w 194"/>
                  <a:gd name="T69" fmla="*/ 184 h 208"/>
                  <a:gd name="T70" fmla="*/ 27 w 194"/>
                  <a:gd name="T71" fmla="*/ 163 h 208"/>
                  <a:gd name="T72" fmla="*/ 74 w 194"/>
                  <a:gd name="T73" fmla="*/ 146 h 208"/>
                  <a:gd name="T74" fmla="*/ 78 w 194"/>
                  <a:gd name="T75" fmla="*/ 140 h 208"/>
                  <a:gd name="T76" fmla="*/ 78 w 194"/>
                  <a:gd name="T77" fmla="*/ 124 h 208"/>
                  <a:gd name="T78" fmla="*/ 95 w 194"/>
                  <a:gd name="T79" fmla="*/ 127 h 208"/>
                  <a:gd name="T80" fmla="*/ 115 w 194"/>
                  <a:gd name="T81" fmla="*/ 123 h 208"/>
                  <a:gd name="T82" fmla="*/ 115 w 194"/>
                  <a:gd name="T83" fmla="*/ 140 h 208"/>
                  <a:gd name="T84" fmla="*/ 119 w 194"/>
                  <a:gd name="T85" fmla="*/ 146 h 208"/>
                  <a:gd name="T86" fmla="*/ 167 w 194"/>
                  <a:gd name="T87" fmla="*/ 163 h 208"/>
                  <a:gd name="T88" fmla="*/ 182 w 194"/>
                  <a:gd name="T89" fmla="*/ 184 h 208"/>
                  <a:gd name="T90" fmla="*/ 182 w 194"/>
                  <a:gd name="T91" fmla="*/ 1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208">
                    <a:moveTo>
                      <a:pt x="171" y="152"/>
                    </a:moveTo>
                    <a:cubicBezTo>
                      <a:pt x="127" y="136"/>
                      <a:pt x="127" y="136"/>
                      <a:pt x="127" y="136"/>
                    </a:cubicBezTo>
                    <a:cubicBezTo>
                      <a:pt x="127" y="115"/>
                      <a:pt x="127" y="115"/>
                      <a:pt x="127" y="115"/>
                    </a:cubicBezTo>
                    <a:cubicBezTo>
                      <a:pt x="141" y="103"/>
                      <a:pt x="149" y="85"/>
                      <a:pt x="149" y="64"/>
                    </a:cubicBezTo>
                    <a:cubicBezTo>
                      <a:pt x="149" y="29"/>
                      <a:pt x="125" y="0"/>
                      <a:pt x="95" y="0"/>
                    </a:cubicBezTo>
                    <a:cubicBezTo>
                      <a:pt x="66" y="0"/>
                      <a:pt x="42" y="29"/>
                      <a:pt x="42" y="64"/>
                    </a:cubicBezTo>
                    <a:cubicBezTo>
                      <a:pt x="42" y="86"/>
                      <a:pt x="51" y="106"/>
                      <a:pt x="66" y="117"/>
                    </a:cubicBezTo>
                    <a:cubicBezTo>
                      <a:pt x="66" y="136"/>
                      <a:pt x="66" y="136"/>
                      <a:pt x="66" y="136"/>
                    </a:cubicBezTo>
                    <a:cubicBezTo>
                      <a:pt x="23" y="152"/>
                      <a:pt x="23" y="152"/>
                      <a:pt x="23" y="152"/>
                    </a:cubicBezTo>
                    <a:cubicBezTo>
                      <a:pt x="9" y="156"/>
                      <a:pt x="0" y="170"/>
                      <a:pt x="0" y="184"/>
                    </a:cubicBezTo>
                    <a:cubicBezTo>
                      <a:pt x="0" y="202"/>
                      <a:pt x="0" y="202"/>
                      <a:pt x="0" y="202"/>
                    </a:cubicBezTo>
                    <a:cubicBezTo>
                      <a:pt x="0" y="206"/>
                      <a:pt x="2" y="208"/>
                      <a:pt x="6" y="208"/>
                    </a:cubicBezTo>
                    <a:cubicBezTo>
                      <a:pt x="188" y="208"/>
                      <a:pt x="188" y="208"/>
                      <a:pt x="188" y="208"/>
                    </a:cubicBezTo>
                    <a:cubicBezTo>
                      <a:pt x="191" y="208"/>
                      <a:pt x="194" y="206"/>
                      <a:pt x="194" y="202"/>
                    </a:cubicBezTo>
                    <a:cubicBezTo>
                      <a:pt x="194" y="184"/>
                      <a:pt x="194" y="184"/>
                      <a:pt x="194" y="184"/>
                    </a:cubicBezTo>
                    <a:cubicBezTo>
                      <a:pt x="194" y="170"/>
                      <a:pt x="184" y="156"/>
                      <a:pt x="171" y="152"/>
                    </a:cubicBezTo>
                    <a:close/>
                    <a:moveTo>
                      <a:pt x="95" y="12"/>
                    </a:moveTo>
                    <a:cubicBezTo>
                      <a:pt x="116" y="12"/>
                      <a:pt x="132" y="30"/>
                      <a:pt x="136" y="53"/>
                    </a:cubicBezTo>
                    <a:cubicBezTo>
                      <a:pt x="124" y="55"/>
                      <a:pt x="116" y="51"/>
                      <a:pt x="108" y="37"/>
                    </a:cubicBezTo>
                    <a:cubicBezTo>
                      <a:pt x="107" y="35"/>
                      <a:pt x="105" y="34"/>
                      <a:pt x="103" y="34"/>
                    </a:cubicBezTo>
                    <a:cubicBezTo>
                      <a:pt x="100" y="34"/>
                      <a:pt x="98" y="36"/>
                      <a:pt x="97" y="38"/>
                    </a:cubicBezTo>
                    <a:cubicBezTo>
                      <a:pt x="93" y="45"/>
                      <a:pt x="79" y="53"/>
                      <a:pt x="67" y="53"/>
                    </a:cubicBezTo>
                    <a:cubicBezTo>
                      <a:pt x="62" y="53"/>
                      <a:pt x="59" y="52"/>
                      <a:pt x="55" y="51"/>
                    </a:cubicBezTo>
                    <a:cubicBezTo>
                      <a:pt x="60" y="29"/>
                      <a:pt x="76" y="12"/>
                      <a:pt x="95" y="12"/>
                    </a:cubicBezTo>
                    <a:close/>
                    <a:moveTo>
                      <a:pt x="54" y="64"/>
                    </a:moveTo>
                    <a:cubicBezTo>
                      <a:pt x="54" y="63"/>
                      <a:pt x="54" y="63"/>
                      <a:pt x="54" y="63"/>
                    </a:cubicBezTo>
                    <a:cubicBezTo>
                      <a:pt x="58" y="64"/>
                      <a:pt x="62" y="65"/>
                      <a:pt x="67" y="65"/>
                    </a:cubicBezTo>
                    <a:cubicBezTo>
                      <a:pt x="80" y="65"/>
                      <a:pt x="94" y="59"/>
                      <a:pt x="102" y="51"/>
                    </a:cubicBezTo>
                    <a:cubicBezTo>
                      <a:pt x="110" y="61"/>
                      <a:pt x="119" y="66"/>
                      <a:pt x="130" y="66"/>
                    </a:cubicBezTo>
                    <a:cubicBezTo>
                      <a:pt x="133" y="66"/>
                      <a:pt x="135" y="65"/>
                      <a:pt x="137" y="65"/>
                    </a:cubicBezTo>
                    <a:cubicBezTo>
                      <a:pt x="137" y="93"/>
                      <a:pt x="118" y="115"/>
                      <a:pt x="95" y="115"/>
                    </a:cubicBezTo>
                    <a:cubicBezTo>
                      <a:pt x="72" y="115"/>
                      <a:pt x="54" y="92"/>
                      <a:pt x="54" y="64"/>
                    </a:cubicBezTo>
                    <a:close/>
                    <a:moveTo>
                      <a:pt x="182" y="196"/>
                    </a:moveTo>
                    <a:cubicBezTo>
                      <a:pt x="12" y="196"/>
                      <a:pt x="12" y="196"/>
                      <a:pt x="12" y="196"/>
                    </a:cubicBezTo>
                    <a:cubicBezTo>
                      <a:pt x="12" y="184"/>
                      <a:pt x="12" y="184"/>
                      <a:pt x="12" y="184"/>
                    </a:cubicBezTo>
                    <a:cubicBezTo>
                      <a:pt x="12" y="175"/>
                      <a:pt x="18" y="166"/>
                      <a:pt x="27" y="163"/>
                    </a:cubicBezTo>
                    <a:cubicBezTo>
                      <a:pt x="74" y="146"/>
                      <a:pt x="74" y="146"/>
                      <a:pt x="74" y="146"/>
                    </a:cubicBezTo>
                    <a:cubicBezTo>
                      <a:pt x="77" y="145"/>
                      <a:pt x="78" y="143"/>
                      <a:pt x="78" y="140"/>
                    </a:cubicBezTo>
                    <a:cubicBezTo>
                      <a:pt x="78" y="124"/>
                      <a:pt x="78" y="124"/>
                      <a:pt x="78" y="124"/>
                    </a:cubicBezTo>
                    <a:cubicBezTo>
                      <a:pt x="84" y="126"/>
                      <a:pt x="90" y="127"/>
                      <a:pt x="95" y="127"/>
                    </a:cubicBezTo>
                    <a:cubicBezTo>
                      <a:pt x="102" y="127"/>
                      <a:pt x="109" y="125"/>
                      <a:pt x="115" y="123"/>
                    </a:cubicBezTo>
                    <a:cubicBezTo>
                      <a:pt x="115" y="140"/>
                      <a:pt x="115" y="140"/>
                      <a:pt x="115" y="140"/>
                    </a:cubicBezTo>
                    <a:cubicBezTo>
                      <a:pt x="115" y="143"/>
                      <a:pt x="116" y="145"/>
                      <a:pt x="119" y="146"/>
                    </a:cubicBezTo>
                    <a:cubicBezTo>
                      <a:pt x="167" y="163"/>
                      <a:pt x="167" y="163"/>
                      <a:pt x="167" y="163"/>
                    </a:cubicBezTo>
                    <a:cubicBezTo>
                      <a:pt x="176" y="166"/>
                      <a:pt x="182" y="175"/>
                      <a:pt x="182" y="184"/>
                    </a:cubicBezTo>
                    <a:lnTo>
                      <a:pt x="182"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 name="Freeform 96">
                <a:extLst>
                  <a:ext uri="{FF2B5EF4-FFF2-40B4-BE49-F238E27FC236}">
                    <a16:creationId xmlns:a16="http://schemas.microsoft.com/office/drawing/2014/main" id="{041D8A7C-D08D-989F-F53D-E8BB404A0FCA}"/>
                  </a:ext>
                </a:extLst>
              </p:cNvPr>
              <p:cNvSpPr>
                <a:spLocks/>
              </p:cNvSpPr>
              <p:nvPr/>
            </p:nvSpPr>
            <p:spPr bwMode="auto">
              <a:xfrm>
                <a:off x="2845" y="1948"/>
                <a:ext cx="159" cy="311"/>
              </a:xfrm>
              <a:custGeom>
                <a:avLst/>
                <a:gdLst>
                  <a:gd name="T0" fmla="*/ 81 w 104"/>
                  <a:gd name="T1" fmla="*/ 152 h 208"/>
                  <a:gd name="T2" fmla="*/ 38 w 104"/>
                  <a:gd name="T3" fmla="*/ 136 h 208"/>
                  <a:gd name="T4" fmla="*/ 38 w 104"/>
                  <a:gd name="T5" fmla="*/ 115 h 208"/>
                  <a:gd name="T6" fmla="*/ 60 w 104"/>
                  <a:gd name="T7" fmla="*/ 64 h 208"/>
                  <a:gd name="T8" fmla="*/ 6 w 104"/>
                  <a:gd name="T9" fmla="*/ 0 h 208"/>
                  <a:gd name="T10" fmla="*/ 0 w 104"/>
                  <a:gd name="T11" fmla="*/ 6 h 208"/>
                  <a:gd name="T12" fmla="*/ 6 w 104"/>
                  <a:gd name="T13" fmla="*/ 12 h 208"/>
                  <a:gd name="T14" fmla="*/ 47 w 104"/>
                  <a:gd name="T15" fmla="*/ 53 h 208"/>
                  <a:gd name="T16" fmla="*/ 19 w 104"/>
                  <a:gd name="T17" fmla="*/ 37 h 208"/>
                  <a:gd name="T18" fmla="*/ 10 w 104"/>
                  <a:gd name="T19" fmla="*/ 35 h 208"/>
                  <a:gd name="T20" fmla="*/ 8 w 104"/>
                  <a:gd name="T21" fmla="*/ 43 h 208"/>
                  <a:gd name="T22" fmla="*/ 41 w 104"/>
                  <a:gd name="T23" fmla="*/ 66 h 208"/>
                  <a:gd name="T24" fmla="*/ 48 w 104"/>
                  <a:gd name="T25" fmla="*/ 65 h 208"/>
                  <a:gd name="T26" fmla="*/ 6 w 104"/>
                  <a:gd name="T27" fmla="*/ 115 h 208"/>
                  <a:gd name="T28" fmla="*/ 0 w 104"/>
                  <a:gd name="T29" fmla="*/ 121 h 208"/>
                  <a:gd name="T30" fmla="*/ 6 w 104"/>
                  <a:gd name="T31" fmla="*/ 127 h 208"/>
                  <a:gd name="T32" fmla="*/ 26 w 104"/>
                  <a:gd name="T33" fmla="*/ 123 h 208"/>
                  <a:gd name="T34" fmla="*/ 26 w 104"/>
                  <a:gd name="T35" fmla="*/ 140 h 208"/>
                  <a:gd name="T36" fmla="*/ 30 w 104"/>
                  <a:gd name="T37" fmla="*/ 146 h 208"/>
                  <a:gd name="T38" fmla="*/ 77 w 104"/>
                  <a:gd name="T39" fmla="*/ 163 h 208"/>
                  <a:gd name="T40" fmla="*/ 92 w 104"/>
                  <a:gd name="T41" fmla="*/ 184 h 208"/>
                  <a:gd name="T42" fmla="*/ 92 w 104"/>
                  <a:gd name="T43" fmla="*/ 196 h 208"/>
                  <a:gd name="T44" fmla="*/ 56 w 104"/>
                  <a:gd name="T45" fmla="*/ 196 h 208"/>
                  <a:gd name="T46" fmla="*/ 50 w 104"/>
                  <a:gd name="T47" fmla="*/ 202 h 208"/>
                  <a:gd name="T48" fmla="*/ 56 w 104"/>
                  <a:gd name="T49" fmla="*/ 208 h 208"/>
                  <a:gd name="T50" fmla="*/ 98 w 104"/>
                  <a:gd name="T51" fmla="*/ 208 h 208"/>
                  <a:gd name="T52" fmla="*/ 104 w 104"/>
                  <a:gd name="T53" fmla="*/ 202 h 208"/>
                  <a:gd name="T54" fmla="*/ 104 w 104"/>
                  <a:gd name="T55" fmla="*/ 184 h 208"/>
                  <a:gd name="T56" fmla="*/ 81 w 104"/>
                  <a:gd name="T57" fmla="*/ 15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208">
                    <a:moveTo>
                      <a:pt x="81" y="152"/>
                    </a:moveTo>
                    <a:cubicBezTo>
                      <a:pt x="38" y="136"/>
                      <a:pt x="38" y="136"/>
                      <a:pt x="38" y="136"/>
                    </a:cubicBezTo>
                    <a:cubicBezTo>
                      <a:pt x="38" y="115"/>
                      <a:pt x="38" y="115"/>
                      <a:pt x="38" y="115"/>
                    </a:cubicBezTo>
                    <a:cubicBezTo>
                      <a:pt x="51" y="103"/>
                      <a:pt x="60" y="85"/>
                      <a:pt x="60" y="64"/>
                    </a:cubicBezTo>
                    <a:cubicBezTo>
                      <a:pt x="60" y="29"/>
                      <a:pt x="36" y="0"/>
                      <a:pt x="6" y="0"/>
                    </a:cubicBezTo>
                    <a:cubicBezTo>
                      <a:pt x="3" y="0"/>
                      <a:pt x="0" y="3"/>
                      <a:pt x="0" y="6"/>
                    </a:cubicBezTo>
                    <a:cubicBezTo>
                      <a:pt x="0" y="9"/>
                      <a:pt x="3" y="12"/>
                      <a:pt x="6" y="12"/>
                    </a:cubicBezTo>
                    <a:cubicBezTo>
                      <a:pt x="26" y="12"/>
                      <a:pt x="43" y="30"/>
                      <a:pt x="47" y="53"/>
                    </a:cubicBezTo>
                    <a:cubicBezTo>
                      <a:pt x="34" y="55"/>
                      <a:pt x="26" y="51"/>
                      <a:pt x="19" y="37"/>
                    </a:cubicBezTo>
                    <a:cubicBezTo>
                      <a:pt x="17" y="34"/>
                      <a:pt x="13" y="33"/>
                      <a:pt x="10" y="35"/>
                    </a:cubicBezTo>
                    <a:cubicBezTo>
                      <a:pt x="7" y="37"/>
                      <a:pt x="6" y="40"/>
                      <a:pt x="8" y="43"/>
                    </a:cubicBezTo>
                    <a:cubicBezTo>
                      <a:pt x="17" y="59"/>
                      <a:pt x="27" y="66"/>
                      <a:pt x="41" y="66"/>
                    </a:cubicBezTo>
                    <a:cubicBezTo>
                      <a:pt x="43" y="66"/>
                      <a:pt x="46" y="65"/>
                      <a:pt x="48" y="65"/>
                    </a:cubicBezTo>
                    <a:cubicBezTo>
                      <a:pt x="47" y="93"/>
                      <a:pt x="29" y="115"/>
                      <a:pt x="6" y="115"/>
                    </a:cubicBezTo>
                    <a:cubicBezTo>
                      <a:pt x="3" y="115"/>
                      <a:pt x="0" y="118"/>
                      <a:pt x="0" y="121"/>
                    </a:cubicBezTo>
                    <a:cubicBezTo>
                      <a:pt x="0" y="124"/>
                      <a:pt x="3" y="127"/>
                      <a:pt x="6" y="127"/>
                    </a:cubicBezTo>
                    <a:cubicBezTo>
                      <a:pt x="13" y="127"/>
                      <a:pt x="20" y="125"/>
                      <a:pt x="26" y="123"/>
                    </a:cubicBezTo>
                    <a:cubicBezTo>
                      <a:pt x="26" y="140"/>
                      <a:pt x="26" y="140"/>
                      <a:pt x="26" y="140"/>
                    </a:cubicBezTo>
                    <a:cubicBezTo>
                      <a:pt x="26" y="143"/>
                      <a:pt x="27" y="145"/>
                      <a:pt x="30" y="146"/>
                    </a:cubicBezTo>
                    <a:cubicBezTo>
                      <a:pt x="77" y="163"/>
                      <a:pt x="77" y="163"/>
                      <a:pt x="77" y="163"/>
                    </a:cubicBezTo>
                    <a:cubicBezTo>
                      <a:pt x="86" y="166"/>
                      <a:pt x="92" y="175"/>
                      <a:pt x="92" y="184"/>
                    </a:cubicBezTo>
                    <a:cubicBezTo>
                      <a:pt x="92" y="196"/>
                      <a:pt x="92" y="196"/>
                      <a:pt x="92" y="196"/>
                    </a:cubicBezTo>
                    <a:cubicBezTo>
                      <a:pt x="56" y="196"/>
                      <a:pt x="56" y="196"/>
                      <a:pt x="56" y="196"/>
                    </a:cubicBezTo>
                    <a:cubicBezTo>
                      <a:pt x="53" y="196"/>
                      <a:pt x="50" y="199"/>
                      <a:pt x="50" y="202"/>
                    </a:cubicBezTo>
                    <a:cubicBezTo>
                      <a:pt x="50" y="206"/>
                      <a:pt x="53" y="208"/>
                      <a:pt x="56" y="208"/>
                    </a:cubicBezTo>
                    <a:cubicBezTo>
                      <a:pt x="98" y="208"/>
                      <a:pt x="98" y="208"/>
                      <a:pt x="98" y="208"/>
                    </a:cubicBezTo>
                    <a:cubicBezTo>
                      <a:pt x="102" y="208"/>
                      <a:pt x="104" y="206"/>
                      <a:pt x="104" y="202"/>
                    </a:cubicBezTo>
                    <a:cubicBezTo>
                      <a:pt x="104" y="184"/>
                      <a:pt x="104" y="184"/>
                      <a:pt x="104" y="184"/>
                    </a:cubicBezTo>
                    <a:cubicBezTo>
                      <a:pt x="104" y="170"/>
                      <a:pt x="95" y="156"/>
                      <a:pt x="81"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 name="Freeform 89">
              <a:extLst>
                <a:ext uri="{FF2B5EF4-FFF2-40B4-BE49-F238E27FC236}">
                  <a16:creationId xmlns:a16="http://schemas.microsoft.com/office/drawing/2014/main" id="{BF7FB4C7-CCEB-161D-C2DD-ABF5290BF315}"/>
                </a:ext>
              </a:extLst>
            </p:cNvPr>
            <p:cNvSpPr>
              <a:spLocks noEditPoints="1"/>
            </p:cNvSpPr>
            <p:nvPr userDrawn="1"/>
          </p:nvSpPr>
          <p:spPr bwMode="auto">
            <a:xfrm>
              <a:off x="10081740" y="2044865"/>
              <a:ext cx="1754660" cy="136577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7" name="Text Placeholder 6">
            <a:extLst>
              <a:ext uri="{FF2B5EF4-FFF2-40B4-BE49-F238E27FC236}">
                <a16:creationId xmlns:a16="http://schemas.microsoft.com/office/drawing/2014/main" id="{F7B59288-D0A6-9EEC-6AE9-AB7F8AB9DE1F}"/>
              </a:ext>
            </a:extLst>
          </p:cNvPr>
          <p:cNvSpPr>
            <a:spLocks noGrp="1"/>
          </p:cNvSpPr>
          <p:nvPr>
            <p:ph type="body" sz="quarter" idx="11"/>
          </p:nvPr>
        </p:nvSpPr>
        <p:spPr>
          <a:xfrm>
            <a:off x="355600" y="1295400"/>
            <a:ext cx="7429500"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1A444B3B-D0DF-0E8C-881B-AB2E80B8B3FC}"/>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4">
            <a:extLst>
              <a:ext uri="{FF2B5EF4-FFF2-40B4-BE49-F238E27FC236}">
                <a16:creationId xmlns:a16="http://schemas.microsoft.com/office/drawing/2014/main" id="{41D6F58A-4473-8031-12D1-FA94899D8512}"/>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16" name="Picture 15" descr="A picture containing emblem, symbol, logo, text&#10;&#10;Description automatically generated">
            <a:extLst>
              <a:ext uri="{FF2B5EF4-FFF2-40B4-BE49-F238E27FC236}">
                <a16:creationId xmlns:a16="http://schemas.microsoft.com/office/drawing/2014/main" id="{1168C1DC-7CB4-787D-35BB-42651F7A2A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9" name="Footer Placeholder 2">
            <a:extLst>
              <a:ext uri="{FF2B5EF4-FFF2-40B4-BE49-F238E27FC236}">
                <a16:creationId xmlns:a16="http://schemas.microsoft.com/office/drawing/2014/main" id="{A6775B62-8949-6212-7C95-ADFAB109FA7B}"/>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20" name="Slide Number Placeholder 3">
            <a:extLst>
              <a:ext uri="{FF2B5EF4-FFF2-40B4-BE49-F238E27FC236}">
                <a16:creationId xmlns:a16="http://schemas.microsoft.com/office/drawing/2014/main" id="{E9653E30-5891-F7AE-5732-38743E0CA454}"/>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TextBox 5">
            <a:extLst>
              <a:ext uri="{FF2B5EF4-FFF2-40B4-BE49-F238E27FC236}">
                <a16:creationId xmlns:a16="http://schemas.microsoft.com/office/drawing/2014/main" id="{82EEC552-BEFC-14BF-E30D-E0AD5AF60BE7}"/>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5779624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0"/>
        <p:cNvGrpSpPr/>
        <p:nvPr/>
      </p:nvGrpSpPr>
      <p:grpSpPr>
        <a:xfrm>
          <a:off x="0" y="0"/>
          <a:ext cx="0" cy="0"/>
          <a:chOff x="0" y="0"/>
          <a:chExt cx="0" cy="0"/>
        </a:xfrm>
      </p:grpSpPr>
      <p:sp>
        <p:nvSpPr>
          <p:cNvPr id="231" name="Google Shape;231;p41"/>
          <p:cNvSpPr txBox="1">
            <a:spLocks noGrp="1"/>
          </p:cNvSpPr>
          <p:nvPr>
            <p:ph type="title"/>
          </p:nvPr>
        </p:nvSpPr>
        <p:spPr>
          <a:xfrm>
            <a:off x="838200" y="579116"/>
            <a:ext cx="5002000" cy="6880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rgbClr val="3A71AB"/>
              </a:buClr>
              <a:buSzPts val="3300"/>
              <a:buFont typeface="Roboto"/>
              <a:buNone/>
              <a:defRPr b="1">
                <a:solidFill>
                  <a:srgbClr val="3A71AB"/>
                </a:solidFill>
                <a:latin typeface="Roboto"/>
                <a:ea typeface="Roboto"/>
                <a:cs typeface="Roboto"/>
                <a:sym typeface="Roboto"/>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2" name="Google Shape;232;p41"/>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82588" algn="l" rtl="0">
              <a:lnSpc>
                <a:spcPct val="100000"/>
              </a:lnSpc>
              <a:spcBef>
                <a:spcPts val="1067"/>
              </a:spcBef>
              <a:spcAft>
                <a:spcPts val="0"/>
              </a:spcAft>
              <a:buClr>
                <a:srgbClr val="C12530"/>
              </a:buClr>
              <a:buSzPts val="2100"/>
              <a:buChar char="•"/>
              <a:defRPr>
                <a:solidFill>
                  <a:srgbClr val="C12530"/>
                </a:solidFill>
                <a:latin typeface="Roboto"/>
                <a:ea typeface="Roboto"/>
                <a:cs typeface="Roboto"/>
                <a:sym typeface="Roboto"/>
              </a:defRPr>
            </a:lvl1pPr>
            <a:lvl2pPr marL="1219170" lvl="1" indent="-457189" algn="l" rtl="0">
              <a:lnSpc>
                <a:spcPct val="100000"/>
              </a:lnSpc>
              <a:spcBef>
                <a:spcPts val="533"/>
              </a:spcBef>
              <a:spcAft>
                <a:spcPts val="0"/>
              </a:spcAft>
              <a:buClr>
                <a:schemeClr val="dk1"/>
              </a:buClr>
              <a:buSzPts val="1800"/>
              <a:buChar char="•"/>
              <a:defRPr/>
            </a:lvl2pPr>
            <a:lvl3pPr marL="1828754" lvl="2" indent="-431789" algn="l" rtl="0">
              <a:lnSpc>
                <a:spcPct val="100000"/>
              </a:lnSpc>
              <a:spcBef>
                <a:spcPts val="533"/>
              </a:spcBef>
              <a:spcAft>
                <a:spcPts val="0"/>
              </a:spcAft>
              <a:buClr>
                <a:schemeClr val="dk1"/>
              </a:buClr>
              <a:buSzPts val="1500"/>
              <a:buChar char="•"/>
              <a:defRPr/>
            </a:lvl3pPr>
            <a:lvl4pPr marL="2438339" lvl="3" indent="-423323" algn="l" rtl="0">
              <a:lnSpc>
                <a:spcPct val="100000"/>
              </a:lnSpc>
              <a:spcBef>
                <a:spcPts val="533"/>
              </a:spcBef>
              <a:spcAft>
                <a:spcPts val="0"/>
              </a:spcAft>
              <a:buClr>
                <a:schemeClr val="dk1"/>
              </a:buClr>
              <a:buSzPts val="1400"/>
              <a:buChar char="•"/>
              <a:defRPr/>
            </a:lvl4pPr>
            <a:lvl5pPr marL="3047924" lvl="4" indent="-423323" algn="l" rtl="0">
              <a:lnSpc>
                <a:spcPct val="10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3" name="Google Shape;233;p4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solidFill>
                  <a:srgbClr val="C12530"/>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4" name="Google Shape;234;p4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solidFill>
                  <a:srgbClr val="C12530"/>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r>
              <a:rPr lang="en-US"/>
              <a:t>This presentation is for informational purposes only. For legal advice, please contact an attorney</a:t>
            </a:r>
            <a:endParaRPr/>
          </a:p>
        </p:txBody>
      </p:sp>
      <p:sp>
        <p:nvSpPr>
          <p:cNvPr id="235" name="Google Shape;235;p4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9pPr>
          </a:lstStyle>
          <a:p>
            <a:fld id="{00000000-1234-1234-1234-123412341234}" type="slidenum">
              <a:rPr lang="en" smtClean="0"/>
              <a:pPr/>
              <a:t>‹#›</a:t>
            </a:fld>
            <a:endParaRPr lang="en"/>
          </a:p>
        </p:txBody>
      </p:sp>
      <p:pic>
        <p:nvPicPr>
          <p:cNvPr id="236" name="Google Shape;236;p41" descr="A close up of a logo&#10;&#10;Description automatically generated"/>
          <p:cNvPicPr preferRelativeResize="0"/>
          <p:nvPr/>
        </p:nvPicPr>
        <p:blipFill rotWithShape="1">
          <a:blip r:embed="rId2">
            <a:alphaModFix/>
          </a:blip>
          <a:srcRect/>
          <a:stretch/>
        </p:blipFill>
        <p:spPr>
          <a:xfrm>
            <a:off x="10274039" y="365126"/>
            <a:ext cx="1079764" cy="557901"/>
          </a:xfrm>
          <a:prstGeom prst="rect">
            <a:avLst/>
          </a:prstGeom>
          <a:noFill/>
          <a:ln>
            <a:noFill/>
          </a:ln>
        </p:spPr>
      </p:pic>
      <p:cxnSp>
        <p:nvCxnSpPr>
          <p:cNvPr id="237" name="Google Shape;237;p41"/>
          <p:cNvCxnSpPr/>
          <p:nvPr/>
        </p:nvCxnSpPr>
        <p:spPr>
          <a:xfrm>
            <a:off x="838200" y="1304853"/>
            <a:ext cx="2754800" cy="0"/>
          </a:xfrm>
          <a:prstGeom prst="straightConnector1">
            <a:avLst/>
          </a:prstGeom>
          <a:noFill/>
          <a:ln w="57150" cap="flat" cmpd="sng">
            <a:solidFill>
              <a:srgbClr val="3A71AB"/>
            </a:solidFill>
            <a:prstDash val="solid"/>
            <a:miter lim="800000"/>
            <a:headEnd type="none" w="sm" len="sm"/>
            <a:tailEnd type="none" w="sm" len="sm"/>
          </a:ln>
        </p:spPr>
      </p:cxnSp>
    </p:spTree>
    <p:extLst>
      <p:ext uri="{BB962C8B-B14F-4D97-AF65-F5344CB8AC3E}">
        <p14:creationId xmlns:p14="http://schemas.microsoft.com/office/powerpoint/2010/main" val="733956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3831120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2021744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596"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13273" y="1000662"/>
            <a:ext cx="0" cy="4873925"/>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045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24406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668894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854385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693139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674113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14518717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5951172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772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13506528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pic>
        <p:nvPicPr>
          <p:cNvPr id="4" name="Picture 3" descr="A picture containing emblem, symbol, logo, text&#10;&#10;Description automatically generated">
            <a:extLst>
              <a:ext uri="{FF2B5EF4-FFF2-40B4-BE49-F238E27FC236}">
                <a16:creationId xmlns:a16="http://schemas.microsoft.com/office/drawing/2014/main" id="{8A2AB3E5-01B7-08E2-A850-FB18E47EA4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353800" y="45291"/>
            <a:ext cx="776932" cy="802687"/>
          </a:xfrm>
          <a:prstGeom prst="rect">
            <a:avLst/>
          </a:prstGeom>
        </p:spPr>
      </p:pic>
      <p:sp>
        <p:nvSpPr>
          <p:cNvPr id="8" name="Slide Number Placeholder 3">
            <a:extLst>
              <a:ext uri="{FF2B5EF4-FFF2-40B4-BE49-F238E27FC236}">
                <a16:creationId xmlns:a16="http://schemas.microsoft.com/office/drawing/2014/main" id="{119F20C8-5BDD-27AD-477B-4A95861CA2DB}"/>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pic>
        <p:nvPicPr>
          <p:cNvPr id="2" name="Picture 1" descr="A picture containing emblem, symbol, logo, text&#10;&#10;Description automatically generated">
            <a:extLst>
              <a:ext uri="{FF2B5EF4-FFF2-40B4-BE49-F238E27FC236}">
                <a16:creationId xmlns:a16="http://schemas.microsoft.com/office/drawing/2014/main" id="{BDDDEF06-EEC6-1CFC-54B1-58D2D7EAD402}"/>
              </a:ext>
            </a:extLst>
          </p:cNvPr>
          <p:cNvPicPr>
            <a:picLocks noChangeAspect="1"/>
          </p:cNvPicPr>
          <p:nvPr userDrawn="1"/>
        </p:nvPicPr>
        <p:blipFill rotWithShape="1">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11538037" y="144528"/>
            <a:ext cx="436428" cy="450895"/>
          </a:xfrm>
          <a:prstGeom prst="rect">
            <a:avLst/>
          </a:prstGeom>
        </p:spPr>
      </p:pic>
      <p:sp>
        <p:nvSpPr>
          <p:cNvPr id="3" name="Rectangle 2">
            <a:extLst>
              <a:ext uri="{FF2B5EF4-FFF2-40B4-BE49-F238E27FC236}">
                <a16:creationId xmlns:a16="http://schemas.microsoft.com/office/drawing/2014/main" id="{984C96FE-AE25-5CA2-4F26-0B7D91A23C59}"/>
              </a:ext>
            </a:extLst>
          </p:cNvPr>
          <p:cNvSpPr/>
          <p:nvPr userDrawn="1"/>
        </p:nvSpPr>
        <p:spPr>
          <a:xfrm>
            <a:off x="2477062" y="6645140"/>
            <a:ext cx="7234827" cy="215444"/>
          </a:xfrm>
          <a:prstGeom prst="rect">
            <a:avLst/>
          </a:prstGeom>
        </p:spPr>
        <p:txBody>
          <a:bodyPr wrap="square">
            <a:spAutoFit/>
          </a:bodyPr>
          <a:lstStyle/>
          <a:p>
            <a:pPr algn="ctr"/>
            <a:r>
              <a:rPr lang="en-US" sz="800">
                <a:solidFill>
                  <a:schemeClr val="bg1">
                    <a:lumMod val="50000"/>
                  </a:schemeClr>
                </a:solidFill>
                <a:effectLst/>
                <a:latin typeface="Gill Sans MT" panose="020B0502020104020203" pitchFamily="34" charset="0"/>
              </a:rPr>
              <a:t>CONFIDENTIAL AND PROPRIETARY. DRAFT FOR POLICY AND PROGRAM DEVELOPMENT</a:t>
            </a:r>
          </a:p>
        </p:txBody>
      </p:sp>
    </p:spTree>
    <p:extLst>
      <p:ext uri="{BB962C8B-B14F-4D97-AF65-F5344CB8AC3E}">
        <p14:creationId xmlns:p14="http://schemas.microsoft.com/office/powerpoint/2010/main" val="11330618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88C47-7514-9044-5FE9-5700076598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EC0DBF-5CA1-A7DD-9A2C-EB60F33A5C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E1FE5F-9DD5-DF5C-059A-CDF554AE7BA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4560179-EDB5-82AA-B7F7-5C8E41ABE939}"/>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94A3E6C4-4380-3ABE-4A77-A394C2209499}"/>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3290579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96717-B81C-71FC-153A-88BA1FFA14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E46EE6-8DC4-2390-F53E-A02F48CB35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683449-D6C0-AC83-861A-8D1466C68DD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AC8EFC-5931-C47B-7089-20FCCF397986}"/>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D17E4A71-FD3A-71B8-4D8E-306A3CBB436F}"/>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386650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43056-D4BE-930B-9D82-CCE666F0995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4DBD57-DA8A-19EB-D9B4-A407364E2B0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4E4029E-8F6B-EDF2-5A16-CB3D1619A5D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D9E3DE-6B02-5906-5250-A1C05036EEFC}"/>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5869DD18-9FA4-4ADA-7B9A-3590874C6B34}"/>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8059136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9E3E8-F241-D99F-5D64-EF1643D22E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C475CD-5F1B-5B9C-09CD-929FB65BEF5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0A32A-3B1B-058F-76CE-7A6F8F31E5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B85FE44-098D-06D2-75BD-B4AB6C63EB8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5EA2B5D-87C0-E935-C026-EA19F833D0E2}"/>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7" name="Slide Number Placeholder 6">
            <a:extLst>
              <a:ext uri="{FF2B5EF4-FFF2-40B4-BE49-F238E27FC236}">
                <a16:creationId xmlns:a16="http://schemas.microsoft.com/office/drawing/2014/main" id="{123E93DC-66F8-BBA6-DF8E-869ACFE27F08}"/>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2806568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63984-8E7B-074F-9F71-B625E13920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2A99E9-7F63-4994-04BD-CCF6A6CE6C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442A28-C2AA-B4C4-652E-7BE106FCC00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944131F-BA97-565F-6354-B7D8F47E82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02DBB4F-AEF3-AC4C-EC89-4984A43C3F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AA6FF0F-9037-C199-7C1B-72FDB022B93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EF75C71-ACF3-CEF6-5FAD-2FDF938F3FB8}"/>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9" name="Slide Number Placeholder 8">
            <a:extLst>
              <a:ext uri="{FF2B5EF4-FFF2-40B4-BE49-F238E27FC236}">
                <a16:creationId xmlns:a16="http://schemas.microsoft.com/office/drawing/2014/main" id="{DBB89108-9E4D-10BC-0DBF-76B8F7309CE6}"/>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2411850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F41A1-B4B7-E0D2-1B80-2E897B808C3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A86FCD-0B92-3D05-173A-1839005F32B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41208F5-CC5F-8E43-ECA0-89A1D7B4B931}"/>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5" name="Slide Number Placeholder 4">
            <a:extLst>
              <a:ext uri="{FF2B5EF4-FFF2-40B4-BE49-F238E27FC236}">
                <a16:creationId xmlns:a16="http://schemas.microsoft.com/office/drawing/2014/main" id="{3FDB6E67-DB20-172A-F06C-E594DFD4731A}"/>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9724504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36F2F1-72DF-E2EA-D3FC-A46EF511D14B}"/>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611672F-FB2F-EFAD-A67C-726FB5148D89}"/>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4" name="Slide Number Placeholder 3">
            <a:extLst>
              <a:ext uri="{FF2B5EF4-FFF2-40B4-BE49-F238E27FC236}">
                <a16:creationId xmlns:a16="http://schemas.microsoft.com/office/drawing/2014/main" id="{CAD573B7-5577-8EF2-2344-67379D425E2C}"/>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25452806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26D32-06AD-C219-95A3-FADD128C6B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2EEE42-BFE6-ECE5-9FA7-ED3C70F2E0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A166C2-C569-B89F-BECA-E5BB61796A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19C753-0A6C-9F65-F8A2-A600689B7DF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0E2E1FD-5B2A-1760-D498-9FB7777B6B15}"/>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7" name="Slide Number Placeholder 6">
            <a:extLst>
              <a:ext uri="{FF2B5EF4-FFF2-40B4-BE49-F238E27FC236}">
                <a16:creationId xmlns:a16="http://schemas.microsoft.com/office/drawing/2014/main" id="{C46BC9B4-A3EA-1C70-0753-CECA457AF4FA}"/>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17313336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D89A5-649B-600F-835F-E4F1BDC8A7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46A1E94-4D6E-6AA1-DD66-18CB04E58E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743F9C-DEB0-74D0-C63C-CFBB3686BA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9BF5F-75D5-55BB-1AEE-A498FFB0EEC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CDED5C3-032D-1B07-1337-A78AFB253952}"/>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7" name="Slide Number Placeholder 6">
            <a:extLst>
              <a:ext uri="{FF2B5EF4-FFF2-40B4-BE49-F238E27FC236}">
                <a16:creationId xmlns:a16="http://schemas.microsoft.com/office/drawing/2014/main" id="{3FF049AA-2536-0F9E-4E0F-60A5FE32065F}"/>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4136310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260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043"/>
            </a:lvl1pPr>
            <a:lvl2pPr marL="198721" indent="0" algn="ctr">
              <a:buNone/>
              <a:defRPr sz="869"/>
            </a:lvl2pPr>
            <a:lvl3pPr marL="397442" indent="0" algn="ctr">
              <a:buNone/>
              <a:defRPr sz="783"/>
            </a:lvl3pPr>
            <a:lvl4pPr marL="596163" indent="0" algn="ctr">
              <a:buNone/>
              <a:defRPr sz="695"/>
            </a:lvl4pPr>
            <a:lvl5pPr marL="794883" indent="0" algn="ctr">
              <a:buNone/>
              <a:defRPr sz="695"/>
            </a:lvl5pPr>
            <a:lvl6pPr marL="993604" indent="0" algn="ctr">
              <a:buNone/>
              <a:defRPr sz="695"/>
            </a:lvl6pPr>
            <a:lvl7pPr marL="1192325" indent="0" algn="ctr">
              <a:buNone/>
              <a:defRPr sz="695"/>
            </a:lvl7pPr>
            <a:lvl8pPr marL="1391046" indent="0" algn="ctr">
              <a:buNone/>
              <a:defRPr sz="695"/>
            </a:lvl8pPr>
            <a:lvl9pPr marL="1589767" indent="0" algn="ctr">
              <a:buNone/>
              <a:defRPr sz="695"/>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25124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18BAF-79DA-00C7-0D86-86184F5F43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250612-0844-9F0B-B1BA-CF6369165F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44A627-FB05-313A-EB3F-B5D8B6E7E0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48C43E8-C539-FCC4-9E53-3BE6FF360C29}"/>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01E8A8A5-87B7-A598-7014-0203B618360D}"/>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922358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833CED0-FE49-70B6-5828-C9A16A44A8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2BA2233-3E9E-CA06-1FFB-AF9642B5B1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199AC4-B457-E751-4E8A-2CC14600736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4A9E180-EA8A-02D0-1775-E925DDBEF165}"/>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30C43A0D-7E3A-BCFF-D4CF-E4E532051EA4}"/>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266949456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heme" Target="../theme/theme1.x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image" Target="../media/image1.emf"/><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29" Type="http://schemas.openxmlformats.org/officeDocument/2006/relationships/tags" Target="../tags/tag70.xml"/><Relationship Id="rId41"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tags" Target="../tags/tag81.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ags" Target="../tags/tag7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image" Target="../media/image5.png"/><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199.xml"/><Relationship Id="rId18" Type="http://schemas.openxmlformats.org/officeDocument/2006/relationships/tags" Target="../tags/tag204.xml"/><Relationship Id="rId26" Type="http://schemas.openxmlformats.org/officeDocument/2006/relationships/tags" Target="../tags/tag212.xml"/><Relationship Id="rId3" Type="http://schemas.openxmlformats.org/officeDocument/2006/relationships/slideLayout" Target="../slideLayouts/slideLayout34.xml"/><Relationship Id="rId21" Type="http://schemas.openxmlformats.org/officeDocument/2006/relationships/tags" Target="../tags/tag207.xml"/><Relationship Id="rId34"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theme" Target="../theme/theme3.xml"/><Relationship Id="rId17" Type="http://schemas.openxmlformats.org/officeDocument/2006/relationships/tags" Target="../tags/tag203.xml"/><Relationship Id="rId25" Type="http://schemas.openxmlformats.org/officeDocument/2006/relationships/tags" Target="../tags/tag211.xml"/><Relationship Id="rId33"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tags" Target="../tags/tag202.xml"/><Relationship Id="rId20" Type="http://schemas.openxmlformats.org/officeDocument/2006/relationships/tags" Target="../tags/tag206.xml"/><Relationship Id="rId29" Type="http://schemas.openxmlformats.org/officeDocument/2006/relationships/tags" Target="../tags/tag215.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10.xml"/><Relationship Id="rId32" Type="http://schemas.openxmlformats.org/officeDocument/2006/relationships/oleObject" Target="../embeddings/oleObject1.bin"/><Relationship Id="rId5" Type="http://schemas.openxmlformats.org/officeDocument/2006/relationships/slideLayout" Target="../slideLayouts/slideLayout36.xml"/><Relationship Id="rId15" Type="http://schemas.openxmlformats.org/officeDocument/2006/relationships/tags" Target="../tags/tag201.xml"/><Relationship Id="rId23" Type="http://schemas.openxmlformats.org/officeDocument/2006/relationships/tags" Target="../tags/tag209.xml"/><Relationship Id="rId28" Type="http://schemas.openxmlformats.org/officeDocument/2006/relationships/tags" Target="../tags/tag214.xml"/><Relationship Id="rId10" Type="http://schemas.openxmlformats.org/officeDocument/2006/relationships/slideLayout" Target="../slideLayouts/slideLayout41.xml"/><Relationship Id="rId19" Type="http://schemas.openxmlformats.org/officeDocument/2006/relationships/tags" Target="../tags/tag205.xml"/><Relationship Id="rId31" Type="http://schemas.openxmlformats.org/officeDocument/2006/relationships/tags" Target="../tags/tag21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200.xml"/><Relationship Id="rId22" Type="http://schemas.openxmlformats.org/officeDocument/2006/relationships/tags" Target="../tags/tag208.xml"/><Relationship Id="rId27" Type="http://schemas.openxmlformats.org/officeDocument/2006/relationships/tags" Target="../tags/tag213.xml"/><Relationship Id="rId30" Type="http://schemas.openxmlformats.org/officeDocument/2006/relationships/tags" Target="../tags/tag216.xml"/><Relationship Id="rId8"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tags" Target="../tags/tag267.xml"/><Relationship Id="rId3" Type="http://schemas.openxmlformats.org/officeDocument/2006/relationships/slideLayout" Target="../slideLayouts/slideLayout45.xml"/><Relationship Id="rId21" Type="http://schemas.openxmlformats.org/officeDocument/2006/relationships/tags" Target="../tags/tag262.xml"/><Relationship Id="rId7" Type="http://schemas.openxmlformats.org/officeDocument/2006/relationships/slideLayout" Target="../slideLayouts/slideLayout49.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33" Type="http://schemas.openxmlformats.org/officeDocument/2006/relationships/image" Target="../media/image14.png"/><Relationship Id="rId2" Type="http://schemas.openxmlformats.org/officeDocument/2006/relationships/slideLayout" Target="../slideLayouts/slideLayout44.xml"/><Relationship Id="rId16" Type="http://schemas.openxmlformats.org/officeDocument/2006/relationships/tags" Target="../tags/tag257.xml"/><Relationship Id="rId20" Type="http://schemas.openxmlformats.org/officeDocument/2006/relationships/tags" Target="../tags/tag261.xml"/><Relationship Id="rId29" Type="http://schemas.openxmlformats.org/officeDocument/2006/relationships/tags" Target="../tags/tag270.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4.xml"/><Relationship Id="rId24" Type="http://schemas.openxmlformats.org/officeDocument/2006/relationships/tags" Target="../tags/tag265.xml"/><Relationship Id="rId32"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10" Type="http://schemas.openxmlformats.org/officeDocument/2006/relationships/slideLayout" Target="../slideLayouts/slideLayout52.xml"/><Relationship Id="rId19" Type="http://schemas.openxmlformats.org/officeDocument/2006/relationships/tags" Target="../tags/tag260.xml"/><Relationship Id="rId31" Type="http://schemas.openxmlformats.org/officeDocument/2006/relationships/oleObject" Target="../embeddings/oleObject1.bin"/><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8"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theme" Target="../theme/theme5.xml"/><Relationship Id="rId26" Type="http://schemas.openxmlformats.org/officeDocument/2006/relationships/tags" Target="../tags/tag308.xml"/><Relationship Id="rId39" Type="http://schemas.openxmlformats.org/officeDocument/2006/relationships/image" Target="../media/image1.emf"/><Relationship Id="rId21" Type="http://schemas.openxmlformats.org/officeDocument/2006/relationships/tags" Target="../tags/tag303.xml"/><Relationship Id="rId34" Type="http://schemas.openxmlformats.org/officeDocument/2006/relationships/tags" Target="../tags/tag31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ags" Target="../tags/tag307.xml"/><Relationship Id="rId33" Type="http://schemas.openxmlformats.org/officeDocument/2006/relationships/tags" Target="../tags/tag315.xml"/><Relationship Id="rId38" Type="http://schemas.openxmlformats.org/officeDocument/2006/relationships/oleObject" Target="../embeddings/oleObject1.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ags" Target="../tags/tag302.xml"/><Relationship Id="rId29" Type="http://schemas.openxmlformats.org/officeDocument/2006/relationships/tags" Target="../tags/tag31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306.xml"/><Relationship Id="rId32" Type="http://schemas.openxmlformats.org/officeDocument/2006/relationships/tags" Target="../tags/tag314.xml"/><Relationship Id="rId37" Type="http://schemas.openxmlformats.org/officeDocument/2006/relationships/tags" Target="../tags/tag319.xml"/><Relationship Id="rId40" Type="http://schemas.openxmlformats.org/officeDocument/2006/relationships/image" Target="../media/image2.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ags" Target="../tags/tag305.xml"/><Relationship Id="rId28" Type="http://schemas.openxmlformats.org/officeDocument/2006/relationships/tags" Target="../tags/tag310.xml"/><Relationship Id="rId36" Type="http://schemas.openxmlformats.org/officeDocument/2006/relationships/tags" Target="../tags/tag318.xml"/><Relationship Id="rId10" Type="http://schemas.openxmlformats.org/officeDocument/2006/relationships/slideLayout" Target="../slideLayouts/slideLayout62.xml"/><Relationship Id="rId19" Type="http://schemas.openxmlformats.org/officeDocument/2006/relationships/tags" Target="../tags/tag301.xml"/><Relationship Id="rId31" Type="http://schemas.openxmlformats.org/officeDocument/2006/relationships/tags" Target="../tags/tag31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ags" Target="../tags/tag304.xml"/><Relationship Id="rId27" Type="http://schemas.openxmlformats.org/officeDocument/2006/relationships/tags" Target="../tags/tag309.xml"/><Relationship Id="rId30" Type="http://schemas.openxmlformats.org/officeDocument/2006/relationships/tags" Target="../tags/tag312.xml"/><Relationship Id="rId35" Type="http://schemas.openxmlformats.org/officeDocument/2006/relationships/tags" Target="../tags/tag317.xml"/><Relationship Id="rId8" Type="http://schemas.openxmlformats.org/officeDocument/2006/relationships/slideLayout" Target="../slideLayouts/slideLayout60.xml"/><Relationship Id="rId3"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 Type="http://schemas.openxmlformats.org/officeDocument/2006/relationships/slideLayout" Target="../slideLayouts/slideLayout72.xml"/><Relationship Id="rId21" Type="http://schemas.openxmlformats.org/officeDocument/2006/relationships/tags" Target="../tags/tag363.xml"/><Relationship Id="rId34" Type="http://schemas.openxmlformats.org/officeDocument/2006/relationships/image" Target="../media/image14.png"/><Relationship Id="rId7" Type="http://schemas.openxmlformats.org/officeDocument/2006/relationships/slideLayout" Target="../slideLayouts/slideLayout76.xml"/><Relationship Id="rId12" Type="http://schemas.openxmlformats.org/officeDocument/2006/relationships/theme" Target="../theme/theme6.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image" Target="../media/image1.emf"/><Relationship Id="rId2" Type="http://schemas.openxmlformats.org/officeDocument/2006/relationships/slideLayout" Target="../slideLayouts/slideLayout71.xml"/><Relationship Id="rId16" Type="http://schemas.openxmlformats.org/officeDocument/2006/relationships/tags" Target="../tags/tag358.xml"/><Relationship Id="rId20" Type="http://schemas.openxmlformats.org/officeDocument/2006/relationships/tags" Target="../tags/tag362.xml"/><Relationship Id="rId29" Type="http://schemas.openxmlformats.org/officeDocument/2006/relationships/tags" Target="../tags/tag3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ags" Target="../tags/tag366.xml"/><Relationship Id="rId32" Type="http://schemas.openxmlformats.org/officeDocument/2006/relationships/oleObject" Target="../embeddings/oleObject1.bin"/><Relationship Id="rId5" Type="http://schemas.openxmlformats.org/officeDocument/2006/relationships/slideLayout" Target="../slideLayouts/slideLayout74.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10" Type="http://schemas.openxmlformats.org/officeDocument/2006/relationships/slideLayout" Target="../slideLayouts/slideLayout79.xml"/><Relationship Id="rId19" Type="http://schemas.openxmlformats.org/officeDocument/2006/relationships/tags" Target="../tags/tag361.xml"/><Relationship Id="rId31" Type="http://schemas.openxmlformats.org/officeDocument/2006/relationships/tags" Target="../tags/tag373.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8"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4"/>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13" imgH="416" progId="TCLayout.ActiveDocument.1">
                  <p:embed/>
                </p:oleObj>
              </mc:Choice>
              <mc:Fallback>
                <p:oleObj name="think-cell Slide" r:id="rId3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6"/>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13" r:id="rId8"/>
    <p:sldLayoutId id="2147483726" r:id="rId9"/>
    <p:sldLayoutId id="2147483727" r:id="rId10"/>
    <p:sldLayoutId id="2147483728" r:id="rId11"/>
    <p:sldLayoutId id="2147483729" r:id="rId12"/>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1906586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rgbClr val="1F497D"/>
          </a:solidFill>
          <a:ln w="25400"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51" name="Picture 2" descr="Seal of Massachusetts - Wikipedia">
            <a:extLst>
              <a:ext uri="{FF2B5EF4-FFF2-40B4-BE49-F238E27FC236}">
                <a16:creationId xmlns:a16="http://schemas.microsoft.com/office/drawing/2014/main" id="{1220DEBA-2E2F-4661-AA0C-922E6B034C55}"/>
              </a:ext>
            </a:extLst>
          </p:cNvPr>
          <p:cNvPicPr>
            <a:picLocks noChangeAspect="1" noChangeArrowheads="1"/>
          </p:cNvPicPr>
          <p:nvPr userDrawn="1"/>
        </p:nvPicPr>
        <p:blipFill>
          <a:blip r:embed="rId4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92333"/>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446276"/>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09E16B49-31DC-4A42-B89E-24F1DB245FFE}"/>
              </a:ext>
            </a:extLst>
          </p:cNvPr>
          <p:cNvSpPr/>
          <p:nvPr userDrawn="1"/>
        </p:nvSpPr>
        <p:spPr>
          <a:xfrm>
            <a:off x="2501202" y="6684968"/>
            <a:ext cx="7234827" cy="184666"/>
          </a:xfrm>
          <a:prstGeom prst="rect">
            <a:avLst/>
          </a:prstGeom>
        </p:spPr>
        <p:txBody>
          <a:bodyPr wrap="square">
            <a:spAutoFit/>
          </a:bodyPr>
          <a:lstStyle/>
          <a:p>
            <a:pPr algn="ctr"/>
            <a:r>
              <a:rPr lang="en-US" sz="800">
                <a:solidFill>
                  <a:schemeClr val="tx1"/>
                </a:solidFill>
                <a:effectLst/>
                <a:latin typeface="+mn-lt"/>
              </a:rPr>
              <a:t>CONFIDENTIAL AND PROPRIETARY. ANY USE OF THIS MATERIAL WITHOUT SPECIFIC PERMISSION OF THE OWNER IS STRICTLY PROHIBITED.</a:t>
            </a:r>
          </a:p>
        </p:txBody>
      </p:sp>
    </p:spTree>
    <p:extLst>
      <p:ext uri="{BB962C8B-B14F-4D97-AF65-F5344CB8AC3E}">
        <p14:creationId xmlns:p14="http://schemas.microsoft.com/office/powerpoint/2010/main" val="32926072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16044624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98" r:id="rId10"/>
    <p:sldLayoutId id="2147483799" r:id="rId11"/>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2"/>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56313236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022049425"/>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1" r:id="rId15"/>
    <p:sldLayoutId id="2147483784" r:id="rId16"/>
    <p:sldLayoutId id="2147483797" r:id="rId1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298502162"/>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54EAA6-1774-D76E-DA43-9D60E1130A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5918C4-9EF4-434B-35FA-1FAAFB66B8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93008D-53DC-2169-9749-5FE7BC6C84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US"/>
          </a:p>
        </p:txBody>
      </p:sp>
      <p:sp>
        <p:nvSpPr>
          <p:cNvPr id="5" name="Footer Placeholder 4">
            <a:extLst>
              <a:ext uri="{FF2B5EF4-FFF2-40B4-BE49-F238E27FC236}">
                <a16:creationId xmlns:a16="http://schemas.microsoft.com/office/drawing/2014/main" id="{B2D0598D-B3EF-0451-C050-6F16F33143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9FA5DBAE-BF95-D6C9-0735-FC89B571EC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317EB1-737C-4A00-87E5-E580D80575C7}" type="slidenum">
              <a:rPr lang="en-US" smtClean="0"/>
              <a:t>‹#›</a:t>
            </a:fld>
            <a:endParaRPr lang="en-US"/>
          </a:p>
        </p:txBody>
      </p:sp>
    </p:spTree>
    <p:extLst>
      <p:ext uri="{BB962C8B-B14F-4D97-AF65-F5344CB8AC3E}">
        <p14:creationId xmlns:p14="http://schemas.microsoft.com/office/powerpoint/2010/main" val="45368835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8" Type="http://schemas.openxmlformats.org/officeDocument/2006/relationships/hyperlink" Target="https://www.mass.gov/doc/spanish-emergency-planning-fact-sheet-for-parents-with-uncertain-immigration-status-july-2025/download" TargetMode="External"/><Relationship Id="rId3" Type="http://schemas.openxmlformats.org/officeDocument/2006/relationships/hyperlink" Target="https://www.mass.gov/doc/spanish-emergency-planning-guide-for-parents-with-uncertain-immigration-status-july-2025/download" TargetMode="External"/><Relationship Id="rId7" Type="http://schemas.openxmlformats.org/officeDocument/2006/relationships/hyperlink" Target="https://www.mass.gov/doc/emergency-planning-fact-sheet-for-parents-with-uncertain-immigration-status/download" TargetMode="External"/><Relationship Id="rId12" Type="http://schemas.openxmlformats.org/officeDocument/2006/relationships/hyperlink" Target="https://www.bmc.org/sites/default/files/Patient_Care/Specialty_Care/IRHP/family_preparedness_plan.pdf" TargetMode="External"/><Relationship Id="rId2" Type="http://schemas.openxmlformats.org/officeDocument/2006/relationships/hyperlink" Target="https://www.mass.gov/doc/emergency-planning-guide-for-parents-with-uncertain-immigration-status/download" TargetMode="External"/><Relationship Id="rId1" Type="http://schemas.openxmlformats.org/officeDocument/2006/relationships/slideLayout" Target="../slideLayouts/slideLayout82.xml"/><Relationship Id="rId6" Type="http://schemas.openxmlformats.org/officeDocument/2006/relationships/hyperlink" Target="https://www.mass.gov/doc/simplified-chinese-emergency-planning-guide-for-parents-with-uncertain-immigration-status-july-2025/download" TargetMode="External"/><Relationship Id="rId11" Type="http://schemas.openxmlformats.org/officeDocument/2006/relationships/hyperlink" Target="https://www.mass.gov/doc/simplified-chinese-emergency-planning-fact-sheet-for-parents-with-uncertain-immigration-status-july-2025/download" TargetMode="External"/><Relationship Id="rId5" Type="http://schemas.openxmlformats.org/officeDocument/2006/relationships/hyperlink" Target="https://www.mass.gov/doc/haitian-creole-emergency-planning-guide-for-parents-with-uncertain-immigration-status-july-2025/download" TargetMode="External"/><Relationship Id="rId10" Type="http://schemas.openxmlformats.org/officeDocument/2006/relationships/hyperlink" Target="https://www.mass.gov/doc/haitian-creole-emergency-planning-fact-sheet-for-parents-with-uncertain-immigration-status-july-2025/download" TargetMode="External"/><Relationship Id="rId4" Type="http://schemas.openxmlformats.org/officeDocument/2006/relationships/hyperlink" Target="https://www.mass.gov/doc/portuguese-emergency-planning-guide-for-parents-with-uncertain-immigration-status-july-2025/download" TargetMode="External"/><Relationship Id="rId9" Type="http://schemas.openxmlformats.org/officeDocument/2006/relationships/hyperlink" Target="https://www.mass.gov/doc/portuguese-emergency-planning-fact-sheet-for-parents-with-uncertain-immigration-status-july-2025/download"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36.xml"/><Relationship Id="rId4" Type="http://schemas.openxmlformats.org/officeDocument/2006/relationships/image" Target="../media/image21.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hyperlink" Target="https://www.mass.gov/doc/2022-school-resource-officer-memorandum-of-understanding/download" TargetMode="Externa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3" Type="http://schemas.openxmlformats.org/officeDocument/2006/relationships/hyperlink" Target="https://www.mass.gov/info-details/community-based-organizations-resources" TargetMode="External"/><Relationship Id="rId2" Type="http://schemas.openxmlformats.org/officeDocument/2006/relationships/hyperlink" Target="https://www.mass.gov/community-resource-toolkit" TargetMode="External"/><Relationship Id="rId1" Type="http://schemas.openxmlformats.org/officeDocument/2006/relationships/slideLayout" Target="../slideLayouts/slideLayout82.xml"/><Relationship Id="rId5" Type="http://schemas.openxmlformats.org/officeDocument/2006/relationships/hyperlink" Target="https://forms.office.com/Pages/ResponsePage.aspx?id=Fh2GPrdIDkqYBowE2Bt7KhJCRgCYRm1Cof8liPMrpJxUMEczQkpSVFpGUFU2SDBJNVRUVzVHWDdaSSQlQCN0PWcu" TargetMode="External"/><Relationship Id="rId4" Type="http://schemas.openxmlformats.org/officeDocument/2006/relationships/hyperlink" Target="https://www.mass.gov/info-details/family-facing-resources"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3.xml.rels><?xml version="1.0" encoding="UTF-8" standalone="yes"?>
<Relationships xmlns="http://schemas.openxmlformats.org/package/2006/relationships"><Relationship Id="rId3" Type="http://schemas.openxmlformats.org/officeDocument/2006/relationships/hyperlink" Target="https://www.boston.gov/departments/immigrant-advancement/free-immigration-consultations" TargetMode="External"/><Relationship Id="rId7" Type="http://schemas.openxmlformats.org/officeDocument/2006/relationships/hyperlink" Target="https://nipnlg.org/work/find-attorney" TargetMode="External"/><Relationship Id="rId2" Type="http://schemas.openxmlformats.org/officeDocument/2006/relationships/hyperlink" Target="https://www.justice.gov/eoir/list-pro-bono-legal-service-providers" TargetMode="External"/><Relationship Id="rId1" Type="http://schemas.openxmlformats.org/officeDocument/2006/relationships/slideLayout" Target="../slideLayouts/slideLayout6.xml"/><Relationship Id="rId6" Type="http://schemas.openxmlformats.org/officeDocument/2006/relationships/hyperlink" Target="https://www.ailalawyer.com/" TargetMode="External"/><Relationship Id="rId5" Type="http://schemas.openxmlformats.org/officeDocument/2006/relationships/hyperlink" Target="https://masslrf.org/en/home" TargetMode="External"/><Relationship Id="rId4" Type="http://schemas.openxmlformats.org/officeDocument/2006/relationships/hyperlink" Target="https://miracoalition.org/news/immigration-helplin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hyperlink" Target="https://locator.ice.gov/odls/homePage.do" TargetMode="External"/><Relationship Id="rId3" Type="http://schemas.openxmlformats.org/officeDocument/2006/relationships/hyperlink" Target="https://www.mass.gov/doc/ago-ice-guidance-05292025/download" TargetMode="External"/><Relationship Id="rId7" Type="http://schemas.openxmlformats.org/officeDocument/2006/relationships/hyperlink" Target="https://forms.office.com/Pages/ResponsePage.aspx?id=Fh2GPrdIDkqYBowE2Bt7KhJCRgCYRm1Cof8liPMrpJxUMEczQkpSVFpGUFU2SDBJNVRUVzVHWDdaSSQlQCN0PWcu" TargetMode="External"/><Relationship Id="rId2" Type="http://schemas.openxmlformats.org/officeDocument/2006/relationships/hyperlink" Target="https://www.mass.gov/doc/flyer-for-k-12-schools-on-protecting-students-and-their-information/download" TargetMode="External"/><Relationship Id="rId1" Type="http://schemas.openxmlformats.org/officeDocument/2006/relationships/slideLayout" Target="../slideLayouts/slideLayout6.xml"/><Relationship Id="rId6" Type="http://schemas.openxmlformats.org/officeDocument/2006/relationships/hyperlink" Target="mailto:civilrights@mass.gov" TargetMode="External"/><Relationship Id="rId5" Type="http://schemas.openxmlformats.org/officeDocument/2006/relationships/hyperlink" Target="http://www.mass.gov/how-to/file-a-civil-rights-complaint" TargetMode="External"/><Relationship Id="rId4" Type="http://schemas.openxmlformats.org/officeDocument/2006/relationships/hyperlink" Target="https://www.mass.gov/info-details/resources-for-immigrants-in-massachusetts" TargetMode="Externa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hyperlink" Target="https://www.doe.mass.edu/commissioner/spec-advisories/upholding-rights.html" TargetMode="External"/><Relationship Id="rId2" Type="http://schemas.openxmlformats.org/officeDocument/2006/relationships/hyperlink" Target="https://www.mass.gov/info-details/attorney-generals-advisory-regarding-equal-access-to-public-education-for-all-students-irrespective-of-immigration-status#:%7E:text=The%20Massachusetts%20Student%20Anti-Discrimination,%2C%20gender%20identity%2C%20religion%2C%20national" TargetMode="Externa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ABC4D2FC-9DA2-0EB0-DFBC-2296D8B0B912}"/>
              </a:ext>
            </a:extLst>
          </p:cNvPr>
          <p:cNvSpPr>
            <a:spLocks noGrp="1"/>
          </p:cNvSpPr>
          <p:nvPr>
            <p:ph type="title"/>
          </p:nvPr>
        </p:nvSpPr>
        <p:spPr>
          <a:xfrm>
            <a:off x="2893929" y="1978792"/>
            <a:ext cx="8181508" cy="1354217"/>
          </a:xfrm>
        </p:spPr>
        <p:txBody>
          <a:bodyPr/>
          <a:lstStyle/>
          <a:p>
            <a:r>
              <a:rPr lang="en-US" dirty="0"/>
              <a:t>ORI &amp; AGO </a:t>
            </a:r>
            <a:br>
              <a:rPr lang="en-US" dirty="0"/>
            </a:br>
            <a:r>
              <a:rPr lang="en-US" dirty="0"/>
              <a:t>Know Your Rights 4.0</a:t>
            </a:r>
          </a:p>
        </p:txBody>
      </p:sp>
      <p:sp>
        <p:nvSpPr>
          <p:cNvPr id="2" name="Subtitle 1">
            <a:extLst>
              <a:ext uri="{FF2B5EF4-FFF2-40B4-BE49-F238E27FC236}">
                <a16:creationId xmlns:a16="http://schemas.microsoft.com/office/drawing/2014/main" id="{B21BC5EB-5E5E-0B59-70EC-76C1B1C267E3}"/>
              </a:ext>
            </a:extLst>
          </p:cNvPr>
          <p:cNvSpPr>
            <a:spLocks noGrp="1"/>
          </p:cNvSpPr>
          <p:nvPr>
            <p:ph type="subTitle" idx="1"/>
          </p:nvPr>
        </p:nvSpPr>
        <p:spPr/>
        <p:txBody>
          <a:bodyPr/>
          <a:lstStyle/>
          <a:p>
            <a:r>
              <a:rPr lang="en-US" dirty="0"/>
              <a:t>Q&amp;A on Immigration</a:t>
            </a:r>
          </a:p>
        </p:txBody>
      </p:sp>
      <p:sp>
        <p:nvSpPr>
          <p:cNvPr id="3" name="TextBox 2">
            <a:extLst>
              <a:ext uri="{FF2B5EF4-FFF2-40B4-BE49-F238E27FC236}">
                <a16:creationId xmlns:a16="http://schemas.microsoft.com/office/drawing/2014/main" id="{AE06E408-CBEF-24AD-FC6B-C61AD944988A}"/>
              </a:ext>
            </a:extLst>
          </p:cNvPr>
          <p:cNvSpPr txBox="1"/>
          <p:nvPr/>
        </p:nvSpPr>
        <p:spPr>
          <a:xfrm>
            <a:off x="1746251" y="6307666"/>
            <a:ext cx="9474197"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b="1">
                <a:cs typeface="Arial"/>
              </a:rPr>
              <a:t>This presentation is for informational purposes only. For legal advice, please contact an attorney.</a:t>
            </a:r>
          </a:p>
        </p:txBody>
      </p:sp>
    </p:spTree>
    <p:extLst>
      <p:ext uri="{BB962C8B-B14F-4D97-AF65-F5344CB8AC3E}">
        <p14:creationId xmlns:p14="http://schemas.microsoft.com/office/powerpoint/2010/main" val="2344338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3B24B1E-77C3-0617-D796-031595683CD3}"/>
            </a:ext>
          </a:extLst>
        </p:cNvPr>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BD986E8-46EC-BD12-97C0-0B74101AD3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56922C68-47E3-8EF7-941C-1F8FAAA096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21" name="Group 20">
            <a:extLst>
              <a:ext uri="{FF2B5EF4-FFF2-40B4-BE49-F238E27FC236}">
                <a16:creationId xmlns:a16="http://schemas.microsoft.com/office/drawing/2014/main" id="{E2DBC246-FE32-41A5-3571-AD3FB26AF2B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137" y="0"/>
            <a:ext cx="5646974" cy="6483075"/>
            <a:chOff x="-19221" y="0"/>
            <a:chExt cx="5646974" cy="6483075"/>
          </a:xfrm>
        </p:grpSpPr>
        <p:sp>
          <p:nvSpPr>
            <p:cNvPr id="22" name="Freeform: Shape 21">
              <a:extLst>
                <a:ext uri="{FF2B5EF4-FFF2-40B4-BE49-F238E27FC236}">
                  <a16:creationId xmlns:a16="http://schemas.microsoft.com/office/drawing/2014/main" id="{F1CD75AD-38A4-0F73-EA71-826CEC1172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16610"/>
              <a:ext cx="5535001" cy="6250127"/>
            </a:xfrm>
            <a:custGeom>
              <a:avLst/>
              <a:gdLst>
                <a:gd name="connsiteX0" fmla="*/ 2510242 w 5535001"/>
                <a:gd name="connsiteY0" fmla="*/ 174 h 6250127"/>
                <a:gd name="connsiteX1" fmla="*/ 2550551 w 5535001"/>
                <a:gd name="connsiteY1" fmla="*/ 510 h 6250127"/>
                <a:gd name="connsiteX2" fmla="*/ 2629490 w 5535001"/>
                <a:gd name="connsiteY2" fmla="*/ 3757 h 6250127"/>
                <a:gd name="connsiteX3" fmla="*/ 2708317 w 5535001"/>
                <a:gd name="connsiteY3" fmla="*/ 7229 h 6250127"/>
                <a:gd name="connsiteX4" fmla="*/ 2787256 w 5535001"/>
                <a:gd name="connsiteY4" fmla="*/ 14619 h 6250127"/>
                <a:gd name="connsiteX5" fmla="*/ 3408467 w 5535001"/>
                <a:gd name="connsiteY5" fmla="*/ 145064 h 6250127"/>
                <a:gd name="connsiteX6" fmla="*/ 3557723 w 5535001"/>
                <a:gd name="connsiteY6" fmla="*/ 199593 h 6250127"/>
                <a:gd name="connsiteX7" fmla="*/ 3594337 w 5535001"/>
                <a:gd name="connsiteY7" fmla="*/ 214597 h 6250127"/>
                <a:gd name="connsiteX8" fmla="*/ 3630616 w 5535001"/>
                <a:gd name="connsiteY8" fmla="*/ 230385 h 6250127"/>
                <a:gd name="connsiteX9" fmla="*/ 3703172 w 5535001"/>
                <a:gd name="connsiteY9" fmla="*/ 262073 h 6250127"/>
                <a:gd name="connsiteX10" fmla="*/ 3739003 w 5535001"/>
                <a:gd name="connsiteY10" fmla="*/ 278756 h 6250127"/>
                <a:gd name="connsiteX11" fmla="*/ 3756806 w 5535001"/>
                <a:gd name="connsiteY11" fmla="*/ 287266 h 6250127"/>
                <a:gd name="connsiteX12" fmla="*/ 3773714 w 5535001"/>
                <a:gd name="connsiteY12" fmla="*/ 297567 h 6250127"/>
                <a:gd name="connsiteX13" fmla="*/ 3840784 w 5535001"/>
                <a:gd name="connsiteY13" fmla="*/ 339332 h 6250127"/>
                <a:gd name="connsiteX14" fmla="*/ 3873927 w 5535001"/>
                <a:gd name="connsiteY14" fmla="*/ 360495 h 6250127"/>
                <a:gd name="connsiteX15" fmla="*/ 3906062 w 5535001"/>
                <a:gd name="connsiteY15" fmla="*/ 383001 h 6250127"/>
                <a:gd name="connsiteX16" fmla="*/ 3969662 w 5535001"/>
                <a:gd name="connsiteY16" fmla="*/ 428572 h 6250127"/>
                <a:gd name="connsiteX17" fmla="*/ 4423029 w 5535001"/>
                <a:gd name="connsiteY17" fmla="*/ 837600 h 6250127"/>
                <a:gd name="connsiteX18" fmla="*/ 4474647 w 5535001"/>
                <a:gd name="connsiteY18" fmla="*/ 891569 h 6250127"/>
                <a:gd name="connsiteX19" fmla="*/ 4524250 w 5535001"/>
                <a:gd name="connsiteY19" fmla="*/ 946883 h 6250127"/>
                <a:gd name="connsiteX20" fmla="*/ 4573965 w 5535001"/>
                <a:gd name="connsiteY20" fmla="*/ 1001748 h 6250127"/>
                <a:gd name="connsiteX21" fmla="*/ 4622224 w 5535001"/>
                <a:gd name="connsiteY21" fmla="*/ 1057509 h 6250127"/>
                <a:gd name="connsiteX22" fmla="*/ 4717510 w 5535001"/>
                <a:gd name="connsiteY22" fmla="*/ 1169143 h 6250127"/>
                <a:gd name="connsiteX23" fmla="*/ 4764986 w 5535001"/>
                <a:gd name="connsiteY23" fmla="*/ 1224681 h 6250127"/>
                <a:gd name="connsiteX24" fmla="*/ 4813021 w 5535001"/>
                <a:gd name="connsiteY24" fmla="*/ 1279994 h 6250127"/>
                <a:gd name="connsiteX25" fmla="*/ 5001915 w 5535001"/>
                <a:gd name="connsiteY25" fmla="*/ 1506846 h 6250127"/>
                <a:gd name="connsiteX26" fmla="*/ 5170542 w 5535001"/>
                <a:gd name="connsiteY26" fmla="*/ 1751165 h 6250127"/>
                <a:gd name="connsiteX27" fmla="*/ 5428969 w 5535001"/>
                <a:gd name="connsiteY27" fmla="*/ 2293660 h 6250127"/>
                <a:gd name="connsiteX28" fmla="*/ 5534893 w 5535001"/>
                <a:gd name="connsiteY28" fmla="*/ 2899307 h 6250127"/>
                <a:gd name="connsiteX29" fmla="*/ 5508804 w 5535001"/>
                <a:gd name="connsiteY29" fmla="*/ 3211144 h 6250127"/>
                <a:gd name="connsiteX30" fmla="*/ 5426282 w 5535001"/>
                <a:gd name="connsiteY30" fmla="*/ 3513352 h 6250127"/>
                <a:gd name="connsiteX31" fmla="*/ 5248250 w 5535001"/>
                <a:gd name="connsiteY31" fmla="*/ 4030542 h 6250127"/>
                <a:gd name="connsiteX32" fmla="*/ 5208612 w 5535001"/>
                <a:gd name="connsiteY32" fmla="*/ 4161771 h 6250127"/>
                <a:gd name="connsiteX33" fmla="*/ 5170318 w 5535001"/>
                <a:gd name="connsiteY33" fmla="*/ 4294680 h 6250127"/>
                <a:gd name="connsiteX34" fmla="*/ 5132248 w 5535001"/>
                <a:gd name="connsiteY34" fmla="*/ 4430164 h 6250127"/>
                <a:gd name="connsiteX35" fmla="*/ 5112765 w 5535001"/>
                <a:gd name="connsiteY35" fmla="*/ 4498914 h 6250127"/>
                <a:gd name="connsiteX36" fmla="*/ 5091715 w 5535001"/>
                <a:gd name="connsiteY36" fmla="*/ 4569119 h 6250127"/>
                <a:gd name="connsiteX37" fmla="*/ 5068985 w 5535001"/>
                <a:gd name="connsiteY37" fmla="*/ 4640220 h 6250127"/>
                <a:gd name="connsiteX38" fmla="*/ 5043904 w 5535001"/>
                <a:gd name="connsiteY38" fmla="*/ 4712105 h 6250127"/>
                <a:gd name="connsiteX39" fmla="*/ 5015799 w 5535001"/>
                <a:gd name="connsiteY39" fmla="*/ 4784438 h 6250127"/>
                <a:gd name="connsiteX40" fmla="*/ 4982880 w 5535001"/>
                <a:gd name="connsiteY40" fmla="*/ 4856435 h 6250127"/>
                <a:gd name="connsiteX41" fmla="*/ 4817276 w 5535001"/>
                <a:gd name="connsiteY41" fmla="*/ 5125275 h 6250127"/>
                <a:gd name="connsiteX42" fmla="*/ 4618753 w 5535001"/>
                <a:gd name="connsiteY42" fmla="*/ 5355374 h 6250127"/>
                <a:gd name="connsiteX43" fmla="*/ 4566575 w 5535001"/>
                <a:gd name="connsiteY43" fmla="*/ 5408560 h 6250127"/>
                <a:gd name="connsiteX44" fmla="*/ 4513837 w 5535001"/>
                <a:gd name="connsiteY44" fmla="*/ 5461186 h 6250127"/>
                <a:gd name="connsiteX45" fmla="*/ 4459531 w 5535001"/>
                <a:gd name="connsiteY45" fmla="*/ 5512580 h 6250127"/>
                <a:gd name="connsiteX46" fmla="*/ 4404554 w 5535001"/>
                <a:gd name="connsiteY46" fmla="*/ 5563526 h 6250127"/>
                <a:gd name="connsiteX47" fmla="*/ 4348009 w 5535001"/>
                <a:gd name="connsiteY47" fmla="*/ 5613017 h 6250127"/>
                <a:gd name="connsiteX48" fmla="*/ 4290568 w 5535001"/>
                <a:gd name="connsiteY48" fmla="*/ 5661948 h 6250127"/>
                <a:gd name="connsiteX49" fmla="*/ 4276124 w 5535001"/>
                <a:gd name="connsiteY49" fmla="*/ 5674153 h 6250127"/>
                <a:gd name="connsiteX50" fmla="*/ 4261120 w 5535001"/>
                <a:gd name="connsiteY50" fmla="*/ 5685798 h 6250127"/>
                <a:gd name="connsiteX51" fmla="*/ 4231112 w 5535001"/>
                <a:gd name="connsiteY51" fmla="*/ 5708976 h 6250127"/>
                <a:gd name="connsiteX52" fmla="*/ 4170984 w 5535001"/>
                <a:gd name="connsiteY52" fmla="*/ 5755443 h 6250127"/>
                <a:gd name="connsiteX53" fmla="*/ 4046025 w 5535001"/>
                <a:gd name="connsiteY53" fmla="*/ 5843228 h 6250127"/>
                <a:gd name="connsiteX54" fmla="*/ 3915356 w 5535001"/>
                <a:gd name="connsiteY54" fmla="*/ 5923735 h 6250127"/>
                <a:gd name="connsiteX55" fmla="*/ 3346323 w 5535001"/>
                <a:gd name="connsiteY55" fmla="*/ 6158872 h 6250127"/>
                <a:gd name="connsiteX56" fmla="*/ 2743476 w 5535001"/>
                <a:gd name="connsiteY56" fmla="*/ 6247328 h 6250127"/>
                <a:gd name="connsiteX57" fmla="*/ 2668120 w 5535001"/>
                <a:gd name="connsiteY57" fmla="*/ 6249344 h 6250127"/>
                <a:gd name="connsiteX58" fmla="*/ 2630498 w 5535001"/>
                <a:gd name="connsiteY58" fmla="*/ 6250127 h 6250127"/>
                <a:gd name="connsiteX59" fmla="*/ 2592988 w 5535001"/>
                <a:gd name="connsiteY59" fmla="*/ 6249568 h 6250127"/>
                <a:gd name="connsiteX60" fmla="*/ 2518080 w 5535001"/>
                <a:gd name="connsiteY60" fmla="*/ 6247777 h 6250127"/>
                <a:gd name="connsiteX61" fmla="*/ 2442948 w 5535001"/>
                <a:gd name="connsiteY61" fmla="*/ 6244529 h 6250127"/>
                <a:gd name="connsiteX62" fmla="*/ 2291676 w 5535001"/>
                <a:gd name="connsiteY62" fmla="*/ 6232213 h 6250127"/>
                <a:gd name="connsiteX63" fmla="*/ 2141412 w 5535001"/>
                <a:gd name="connsiteY63" fmla="*/ 6212394 h 6250127"/>
                <a:gd name="connsiteX64" fmla="*/ 1992715 w 5535001"/>
                <a:gd name="connsiteY64" fmla="*/ 6184961 h 6250127"/>
                <a:gd name="connsiteX65" fmla="*/ 1845811 w 5535001"/>
                <a:gd name="connsiteY65" fmla="*/ 6151034 h 6250127"/>
                <a:gd name="connsiteX66" fmla="*/ 1701033 w 5535001"/>
                <a:gd name="connsiteY66" fmla="*/ 6110724 h 6250127"/>
                <a:gd name="connsiteX67" fmla="*/ 1629484 w 5535001"/>
                <a:gd name="connsiteY67" fmla="*/ 6088219 h 6250127"/>
                <a:gd name="connsiteX68" fmla="*/ 1558383 w 5535001"/>
                <a:gd name="connsiteY68" fmla="*/ 6064929 h 6250127"/>
                <a:gd name="connsiteX69" fmla="*/ 1011968 w 5535001"/>
                <a:gd name="connsiteY69" fmla="*/ 5828896 h 6250127"/>
                <a:gd name="connsiteX70" fmla="*/ 511237 w 5535001"/>
                <a:gd name="connsiteY70" fmla="*/ 5512356 h 6250127"/>
                <a:gd name="connsiteX71" fmla="*/ 395572 w 5535001"/>
                <a:gd name="connsiteY71" fmla="*/ 5419757 h 6250127"/>
                <a:gd name="connsiteX72" fmla="*/ 284722 w 5535001"/>
                <a:gd name="connsiteY72" fmla="*/ 5321559 h 6250127"/>
                <a:gd name="connsiteX73" fmla="*/ 257513 w 5535001"/>
                <a:gd name="connsiteY73" fmla="*/ 5296477 h 6250127"/>
                <a:gd name="connsiteX74" fmla="*/ 243853 w 5535001"/>
                <a:gd name="connsiteY74" fmla="*/ 5283937 h 6250127"/>
                <a:gd name="connsiteX75" fmla="*/ 230752 w 5535001"/>
                <a:gd name="connsiteY75" fmla="*/ 5270836 h 6250127"/>
                <a:gd name="connsiteX76" fmla="*/ 178574 w 5535001"/>
                <a:gd name="connsiteY76" fmla="*/ 5218322 h 6250127"/>
                <a:gd name="connsiteX77" fmla="*/ 126508 w 5535001"/>
                <a:gd name="connsiteY77" fmla="*/ 5165584 h 6250127"/>
                <a:gd name="connsiteX78" fmla="*/ 76345 w 5535001"/>
                <a:gd name="connsiteY78" fmla="*/ 5111167 h 6250127"/>
                <a:gd name="connsiteX79" fmla="*/ 26407 w 5535001"/>
                <a:gd name="connsiteY79" fmla="*/ 5056413 h 6250127"/>
                <a:gd name="connsiteX80" fmla="*/ 0 w 5535001"/>
                <a:gd name="connsiteY80" fmla="*/ 5024776 h 6250127"/>
                <a:gd name="connsiteX81" fmla="*/ 0 w 5535001"/>
                <a:gd name="connsiteY81" fmla="*/ 4492798 h 6250127"/>
                <a:gd name="connsiteX82" fmla="*/ 28534 w 5535001"/>
                <a:gd name="connsiteY82" fmla="*/ 4537879 h 6250127"/>
                <a:gd name="connsiteX83" fmla="*/ 66604 w 5535001"/>
                <a:gd name="connsiteY83" fmla="*/ 4592745 h 6250127"/>
                <a:gd name="connsiteX84" fmla="*/ 104114 w 5535001"/>
                <a:gd name="connsiteY84" fmla="*/ 4647834 h 6250127"/>
                <a:gd name="connsiteX85" fmla="*/ 143751 w 5535001"/>
                <a:gd name="connsiteY85" fmla="*/ 4701580 h 6250127"/>
                <a:gd name="connsiteX86" fmla="*/ 182717 w 5535001"/>
                <a:gd name="connsiteY86" fmla="*/ 4755773 h 6250127"/>
                <a:gd name="connsiteX87" fmla="*/ 223810 w 5535001"/>
                <a:gd name="connsiteY87" fmla="*/ 4808399 h 6250127"/>
                <a:gd name="connsiteX88" fmla="*/ 264679 w 5535001"/>
                <a:gd name="connsiteY88" fmla="*/ 4861249 h 6250127"/>
                <a:gd name="connsiteX89" fmla="*/ 307788 w 5535001"/>
                <a:gd name="connsiteY89" fmla="*/ 4912420 h 6250127"/>
                <a:gd name="connsiteX90" fmla="*/ 351232 w 5535001"/>
                <a:gd name="connsiteY90" fmla="*/ 4963254 h 6250127"/>
                <a:gd name="connsiteX91" fmla="*/ 397028 w 5535001"/>
                <a:gd name="connsiteY91" fmla="*/ 5012185 h 6250127"/>
                <a:gd name="connsiteX92" fmla="*/ 443496 w 5535001"/>
                <a:gd name="connsiteY92" fmla="*/ 5060444 h 6250127"/>
                <a:gd name="connsiteX93" fmla="*/ 455140 w 5535001"/>
                <a:gd name="connsiteY93" fmla="*/ 5072537 h 6250127"/>
                <a:gd name="connsiteX94" fmla="*/ 467345 w 5535001"/>
                <a:gd name="connsiteY94" fmla="*/ 5083958 h 6250127"/>
                <a:gd name="connsiteX95" fmla="*/ 491755 w 5535001"/>
                <a:gd name="connsiteY95" fmla="*/ 5106912 h 6250127"/>
                <a:gd name="connsiteX96" fmla="*/ 540686 w 5535001"/>
                <a:gd name="connsiteY96" fmla="*/ 5152819 h 6250127"/>
                <a:gd name="connsiteX97" fmla="*/ 552890 w 5535001"/>
                <a:gd name="connsiteY97" fmla="*/ 5164353 h 6250127"/>
                <a:gd name="connsiteX98" fmla="*/ 565655 w 5535001"/>
                <a:gd name="connsiteY98" fmla="*/ 5175214 h 6250127"/>
                <a:gd name="connsiteX99" fmla="*/ 591072 w 5535001"/>
                <a:gd name="connsiteY99" fmla="*/ 5197048 h 6250127"/>
                <a:gd name="connsiteX100" fmla="*/ 694197 w 5535001"/>
                <a:gd name="connsiteY100" fmla="*/ 5283041 h 6250127"/>
                <a:gd name="connsiteX101" fmla="*/ 1146221 w 5535001"/>
                <a:gd name="connsiteY101" fmla="*/ 5573716 h 6250127"/>
                <a:gd name="connsiteX102" fmla="*/ 1650982 w 5535001"/>
                <a:gd name="connsiteY102" fmla="*/ 5758130 h 6250127"/>
                <a:gd name="connsiteX103" fmla="*/ 1716485 w 5535001"/>
                <a:gd name="connsiteY103" fmla="*/ 5772798 h 6250127"/>
                <a:gd name="connsiteX104" fmla="*/ 1782211 w 5535001"/>
                <a:gd name="connsiteY104" fmla="*/ 5786235 h 6250127"/>
                <a:gd name="connsiteX105" fmla="*/ 1848386 w 5535001"/>
                <a:gd name="connsiteY105" fmla="*/ 5796984 h 6250127"/>
                <a:gd name="connsiteX106" fmla="*/ 1881417 w 5535001"/>
                <a:gd name="connsiteY106" fmla="*/ 5802359 h 6250127"/>
                <a:gd name="connsiteX107" fmla="*/ 1914560 w 5535001"/>
                <a:gd name="connsiteY107" fmla="*/ 5807061 h 6250127"/>
                <a:gd name="connsiteX108" fmla="*/ 2047469 w 5535001"/>
                <a:gd name="connsiteY108" fmla="*/ 5821282 h 6250127"/>
                <a:gd name="connsiteX109" fmla="*/ 2180601 w 5535001"/>
                <a:gd name="connsiteY109" fmla="*/ 5828896 h 6250127"/>
                <a:gd name="connsiteX110" fmla="*/ 2313622 w 5535001"/>
                <a:gd name="connsiteY110" fmla="*/ 5830463 h 6250127"/>
                <a:gd name="connsiteX111" fmla="*/ 2380021 w 5535001"/>
                <a:gd name="connsiteY111" fmla="*/ 5828448 h 6250127"/>
                <a:gd name="connsiteX112" fmla="*/ 2446195 w 5535001"/>
                <a:gd name="connsiteY112" fmla="*/ 5826433 h 6250127"/>
                <a:gd name="connsiteX113" fmla="*/ 2513041 w 5535001"/>
                <a:gd name="connsiteY113" fmla="*/ 5822737 h 6250127"/>
                <a:gd name="connsiteX114" fmla="*/ 2580111 w 5535001"/>
                <a:gd name="connsiteY114" fmla="*/ 5818258 h 6250127"/>
                <a:gd name="connsiteX115" fmla="*/ 2613590 w 5535001"/>
                <a:gd name="connsiteY115" fmla="*/ 5816355 h 6250127"/>
                <a:gd name="connsiteX116" fmla="*/ 2646845 w 5535001"/>
                <a:gd name="connsiteY116" fmla="*/ 5813108 h 6250127"/>
                <a:gd name="connsiteX117" fmla="*/ 2713244 w 5535001"/>
                <a:gd name="connsiteY117" fmla="*/ 5806838 h 6250127"/>
                <a:gd name="connsiteX118" fmla="*/ 3230882 w 5535001"/>
                <a:gd name="connsiteY118" fmla="*/ 5721292 h 6250127"/>
                <a:gd name="connsiteX119" fmla="*/ 3720416 w 5535001"/>
                <a:gd name="connsiteY119" fmla="*/ 5556472 h 6250127"/>
                <a:gd name="connsiteX120" fmla="*/ 3837425 w 5535001"/>
                <a:gd name="connsiteY120" fmla="*/ 5499927 h 6250127"/>
                <a:gd name="connsiteX121" fmla="*/ 3951634 w 5535001"/>
                <a:gd name="connsiteY121" fmla="*/ 5436552 h 6250127"/>
                <a:gd name="connsiteX122" fmla="*/ 4007284 w 5535001"/>
                <a:gd name="connsiteY122" fmla="*/ 5401841 h 6250127"/>
                <a:gd name="connsiteX123" fmla="*/ 4035164 w 5535001"/>
                <a:gd name="connsiteY123" fmla="*/ 5384374 h 6250127"/>
                <a:gd name="connsiteX124" fmla="*/ 4049049 w 5535001"/>
                <a:gd name="connsiteY124" fmla="*/ 5375640 h 6250127"/>
                <a:gd name="connsiteX125" fmla="*/ 4062485 w 5535001"/>
                <a:gd name="connsiteY125" fmla="*/ 5366123 h 6250127"/>
                <a:gd name="connsiteX126" fmla="*/ 4116567 w 5535001"/>
                <a:gd name="connsiteY126" fmla="*/ 5328277 h 6250127"/>
                <a:gd name="connsiteX127" fmla="*/ 4169976 w 5535001"/>
                <a:gd name="connsiteY127" fmla="*/ 5289199 h 6250127"/>
                <a:gd name="connsiteX128" fmla="*/ 4222042 w 5535001"/>
                <a:gd name="connsiteY128" fmla="*/ 5247994 h 6250127"/>
                <a:gd name="connsiteX129" fmla="*/ 4273213 w 5535001"/>
                <a:gd name="connsiteY129" fmla="*/ 5205558 h 6250127"/>
                <a:gd name="connsiteX130" fmla="*/ 4323151 w 5535001"/>
                <a:gd name="connsiteY130" fmla="*/ 5161329 h 6250127"/>
                <a:gd name="connsiteX131" fmla="*/ 4371971 w 5535001"/>
                <a:gd name="connsiteY131" fmla="*/ 5116093 h 6250127"/>
                <a:gd name="connsiteX132" fmla="*/ 4546868 w 5535001"/>
                <a:gd name="connsiteY132" fmla="*/ 4924400 h 6250127"/>
                <a:gd name="connsiteX133" fmla="*/ 4675634 w 5535001"/>
                <a:gd name="connsiteY133" fmla="*/ 4715352 h 6250127"/>
                <a:gd name="connsiteX134" fmla="*/ 4700155 w 5535001"/>
                <a:gd name="connsiteY134" fmla="*/ 4659255 h 6250127"/>
                <a:gd name="connsiteX135" fmla="*/ 4721206 w 5535001"/>
                <a:gd name="connsiteY135" fmla="*/ 4600135 h 6250127"/>
                <a:gd name="connsiteX136" fmla="*/ 4740465 w 5535001"/>
                <a:gd name="connsiteY136" fmla="*/ 4538887 h 6250127"/>
                <a:gd name="connsiteX137" fmla="*/ 4758492 w 5535001"/>
                <a:gd name="connsiteY137" fmla="*/ 4475848 h 6250127"/>
                <a:gd name="connsiteX138" fmla="*/ 4891288 w 5535001"/>
                <a:gd name="connsiteY138" fmla="*/ 3930329 h 6250127"/>
                <a:gd name="connsiteX139" fmla="*/ 5066298 w 5535001"/>
                <a:gd name="connsiteY139" fmla="*/ 3382235 h 6250127"/>
                <a:gd name="connsiteX140" fmla="*/ 5156994 w 5535001"/>
                <a:gd name="connsiteY140" fmla="*/ 2898635 h 6250127"/>
                <a:gd name="connsiteX141" fmla="*/ 5083317 w 5535001"/>
                <a:gd name="connsiteY141" fmla="*/ 2402047 h 6250127"/>
                <a:gd name="connsiteX142" fmla="*/ 4871022 w 5535001"/>
                <a:gd name="connsiteY142" fmla="*/ 1926958 h 6250127"/>
                <a:gd name="connsiteX143" fmla="*/ 4727028 w 5535001"/>
                <a:gd name="connsiteY143" fmla="*/ 1703577 h 6250127"/>
                <a:gd name="connsiteX144" fmla="*/ 4563776 w 5535001"/>
                <a:gd name="connsiteY144" fmla="*/ 1490834 h 6250127"/>
                <a:gd name="connsiteX145" fmla="*/ 4370291 w 5535001"/>
                <a:gd name="connsiteY145" fmla="*/ 1300596 h 6250127"/>
                <a:gd name="connsiteX146" fmla="*/ 4266046 w 5535001"/>
                <a:gd name="connsiteY146" fmla="*/ 1214491 h 6250127"/>
                <a:gd name="connsiteX147" fmla="*/ 4212973 w 5535001"/>
                <a:gd name="connsiteY147" fmla="*/ 1173062 h 6250127"/>
                <a:gd name="connsiteX148" fmla="*/ 4157995 w 5535001"/>
                <a:gd name="connsiteY148" fmla="*/ 1134545 h 6250127"/>
                <a:gd name="connsiteX149" fmla="*/ 3697126 w 5535001"/>
                <a:gd name="connsiteY149" fmla="*/ 881044 h 6250127"/>
                <a:gd name="connsiteX150" fmla="*/ 3637670 w 5535001"/>
                <a:gd name="connsiteY150" fmla="*/ 856747 h 6250127"/>
                <a:gd name="connsiteX151" fmla="*/ 3608222 w 5535001"/>
                <a:gd name="connsiteY151" fmla="*/ 844318 h 6250127"/>
                <a:gd name="connsiteX152" fmla="*/ 3578214 w 5535001"/>
                <a:gd name="connsiteY152" fmla="*/ 833457 h 6250127"/>
                <a:gd name="connsiteX153" fmla="*/ 3518309 w 5535001"/>
                <a:gd name="connsiteY153" fmla="*/ 812294 h 6250127"/>
                <a:gd name="connsiteX154" fmla="*/ 3503417 w 5535001"/>
                <a:gd name="connsiteY154" fmla="*/ 806920 h 6250127"/>
                <a:gd name="connsiteX155" fmla="*/ 3489533 w 5535001"/>
                <a:gd name="connsiteY155" fmla="*/ 799642 h 6250127"/>
                <a:gd name="connsiteX156" fmla="*/ 3460869 w 5535001"/>
                <a:gd name="connsiteY156" fmla="*/ 787101 h 6250127"/>
                <a:gd name="connsiteX157" fmla="*/ 3402980 w 5535001"/>
                <a:gd name="connsiteY157" fmla="*/ 763475 h 6250127"/>
                <a:gd name="connsiteX158" fmla="*/ 3374092 w 5535001"/>
                <a:gd name="connsiteY158" fmla="*/ 751606 h 6250127"/>
                <a:gd name="connsiteX159" fmla="*/ 3344980 w 5535001"/>
                <a:gd name="connsiteY159" fmla="*/ 740409 h 6250127"/>
                <a:gd name="connsiteX160" fmla="*/ 3226627 w 5535001"/>
                <a:gd name="connsiteY160" fmla="*/ 700772 h 6250127"/>
                <a:gd name="connsiteX161" fmla="*/ 2735750 w 5535001"/>
                <a:gd name="connsiteY161" fmla="*/ 614667 h 6250127"/>
                <a:gd name="connsiteX162" fmla="*/ 2673158 w 5535001"/>
                <a:gd name="connsiteY162" fmla="*/ 610412 h 6250127"/>
                <a:gd name="connsiteX163" fmla="*/ 2610119 w 5535001"/>
                <a:gd name="connsiteY163" fmla="*/ 609628 h 6250127"/>
                <a:gd name="connsiteX164" fmla="*/ 2547080 w 5535001"/>
                <a:gd name="connsiteY164" fmla="*/ 608620 h 6250127"/>
                <a:gd name="connsiteX165" fmla="*/ 2516400 w 5535001"/>
                <a:gd name="connsiteY165" fmla="*/ 608844 h 6250127"/>
                <a:gd name="connsiteX166" fmla="*/ 2486280 w 5535001"/>
                <a:gd name="connsiteY166" fmla="*/ 609740 h 6250127"/>
                <a:gd name="connsiteX167" fmla="*/ 2426376 w 5535001"/>
                <a:gd name="connsiteY167" fmla="*/ 613099 h 6250127"/>
                <a:gd name="connsiteX168" fmla="*/ 2366920 w 5535001"/>
                <a:gd name="connsiteY168" fmla="*/ 618474 h 6250127"/>
                <a:gd name="connsiteX169" fmla="*/ 2337248 w 5535001"/>
                <a:gd name="connsiteY169" fmla="*/ 621497 h 6250127"/>
                <a:gd name="connsiteX170" fmla="*/ 2307800 w 5535001"/>
                <a:gd name="connsiteY170" fmla="*/ 625528 h 6250127"/>
                <a:gd name="connsiteX171" fmla="*/ 2278351 w 5535001"/>
                <a:gd name="connsiteY171" fmla="*/ 629559 h 6250127"/>
                <a:gd name="connsiteX172" fmla="*/ 2249127 w 5535001"/>
                <a:gd name="connsiteY172" fmla="*/ 634710 h 6250127"/>
                <a:gd name="connsiteX173" fmla="*/ 1796096 w 5535001"/>
                <a:gd name="connsiteY173" fmla="*/ 781726 h 6250127"/>
                <a:gd name="connsiteX174" fmla="*/ 1370833 w 5535001"/>
                <a:gd name="connsiteY174" fmla="*/ 1048663 h 6250127"/>
                <a:gd name="connsiteX175" fmla="*/ 959790 w 5535001"/>
                <a:gd name="connsiteY175" fmla="*/ 1390844 h 6250127"/>
                <a:gd name="connsiteX176" fmla="*/ 749062 w 5535001"/>
                <a:gd name="connsiteY176" fmla="*/ 1577611 h 6250127"/>
                <a:gd name="connsiteX177" fmla="*/ 524786 w 5535001"/>
                <a:gd name="connsiteY177" fmla="*/ 1763145 h 6250127"/>
                <a:gd name="connsiteX178" fmla="*/ 84071 w 5535001"/>
                <a:gd name="connsiteY178" fmla="*/ 2098496 h 6250127"/>
                <a:gd name="connsiteX179" fmla="*/ 0 w 5535001"/>
                <a:gd name="connsiteY179" fmla="*/ 2168094 h 6250127"/>
                <a:gd name="connsiteX180" fmla="*/ 0 w 5535001"/>
                <a:gd name="connsiteY180" fmla="*/ 1576676 h 6250127"/>
                <a:gd name="connsiteX181" fmla="*/ 174655 w 5535001"/>
                <a:gd name="connsiteY181" fmla="*/ 1387597 h 6250127"/>
                <a:gd name="connsiteX182" fmla="*/ 363661 w 5535001"/>
                <a:gd name="connsiteY182" fmla="*/ 1188626 h 6250127"/>
                <a:gd name="connsiteX183" fmla="*/ 458052 w 5535001"/>
                <a:gd name="connsiteY183" fmla="*/ 1086397 h 6250127"/>
                <a:gd name="connsiteX184" fmla="*/ 557257 w 5535001"/>
                <a:gd name="connsiteY184" fmla="*/ 981593 h 6250127"/>
                <a:gd name="connsiteX185" fmla="*/ 994165 w 5535001"/>
                <a:gd name="connsiteY185" fmla="*/ 578389 h 6250127"/>
                <a:gd name="connsiteX186" fmla="*/ 1520873 w 5535001"/>
                <a:gd name="connsiteY186" fmla="*/ 237215 h 6250127"/>
                <a:gd name="connsiteX187" fmla="*/ 2141748 w 5535001"/>
                <a:gd name="connsiteY187" fmla="*/ 31190 h 6250127"/>
                <a:gd name="connsiteX188" fmla="*/ 2182505 w 5535001"/>
                <a:gd name="connsiteY188" fmla="*/ 24360 h 6250127"/>
                <a:gd name="connsiteX189" fmla="*/ 2223374 w 5535001"/>
                <a:gd name="connsiteY189" fmla="*/ 18873 h 6250127"/>
                <a:gd name="connsiteX190" fmla="*/ 2264355 w 5535001"/>
                <a:gd name="connsiteY190" fmla="*/ 13611 h 6250127"/>
                <a:gd name="connsiteX191" fmla="*/ 2305336 w 5535001"/>
                <a:gd name="connsiteY191" fmla="*/ 9580 h 6250127"/>
                <a:gd name="connsiteX192" fmla="*/ 2387410 w 5535001"/>
                <a:gd name="connsiteY192" fmla="*/ 3645 h 6250127"/>
                <a:gd name="connsiteX193" fmla="*/ 2469373 w 5535001"/>
                <a:gd name="connsiteY193" fmla="*/ 622 h 625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535001" h="6250127">
                  <a:moveTo>
                    <a:pt x="2510242" y="174"/>
                  </a:moveTo>
                  <a:cubicBezTo>
                    <a:pt x="2523902" y="-50"/>
                    <a:pt x="2537562" y="-162"/>
                    <a:pt x="2550551" y="510"/>
                  </a:cubicBezTo>
                  <a:lnTo>
                    <a:pt x="2629490" y="3757"/>
                  </a:lnTo>
                  <a:lnTo>
                    <a:pt x="2708317" y="7229"/>
                  </a:lnTo>
                  <a:cubicBezTo>
                    <a:pt x="2734630" y="8572"/>
                    <a:pt x="2760943" y="12155"/>
                    <a:pt x="2787256" y="14619"/>
                  </a:cubicBezTo>
                  <a:cubicBezTo>
                    <a:pt x="2997536" y="34885"/>
                    <a:pt x="3207144" y="77994"/>
                    <a:pt x="3408467" y="145064"/>
                  </a:cubicBezTo>
                  <a:lnTo>
                    <a:pt x="3557723" y="199593"/>
                  </a:lnTo>
                  <a:cubicBezTo>
                    <a:pt x="3570264" y="203848"/>
                    <a:pt x="3582245" y="209447"/>
                    <a:pt x="3594337" y="214597"/>
                  </a:cubicBezTo>
                  <a:lnTo>
                    <a:pt x="3630616" y="230385"/>
                  </a:lnTo>
                  <a:lnTo>
                    <a:pt x="3703172" y="262073"/>
                  </a:lnTo>
                  <a:cubicBezTo>
                    <a:pt x="3715265" y="267335"/>
                    <a:pt x="3727358" y="272598"/>
                    <a:pt x="3739003" y="278756"/>
                  </a:cubicBezTo>
                  <a:cubicBezTo>
                    <a:pt x="3744937" y="281667"/>
                    <a:pt x="3750984" y="284131"/>
                    <a:pt x="3756806" y="287266"/>
                  </a:cubicBezTo>
                  <a:cubicBezTo>
                    <a:pt x="3762517" y="290513"/>
                    <a:pt x="3768115" y="294208"/>
                    <a:pt x="3773714" y="297567"/>
                  </a:cubicBezTo>
                  <a:lnTo>
                    <a:pt x="3840784" y="339332"/>
                  </a:lnTo>
                  <a:cubicBezTo>
                    <a:pt x="3851869" y="346386"/>
                    <a:pt x="3863290" y="352881"/>
                    <a:pt x="3873927" y="360495"/>
                  </a:cubicBezTo>
                  <a:lnTo>
                    <a:pt x="3906062" y="383001"/>
                  </a:lnTo>
                  <a:lnTo>
                    <a:pt x="3969662" y="428572"/>
                  </a:lnTo>
                  <a:cubicBezTo>
                    <a:pt x="4137281" y="552188"/>
                    <a:pt x="4285417" y="693270"/>
                    <a:pt x="4423029" y="837600"/>
                  </a:cubicBezTo>
                  <a:cubicBezTo>
                    <a:pt x="4440160" y="855739"/>
                    <a:pt x="4457404" y="873766"/>
                    <a:pt x="4474647" y="891569"/>
                  </a:cubicBezTo>
                  <a:lnTo>
                    <a:pt x="4524250" y="946883"/>
                  </a:lnTo>
                  <a:lnTo>
                    <a:pt x="4573965" y="1001748"/>
                  </a:lnTo>
                  <a:cubicBezTo>
                    <a:pt x="4590760" y="1019887"/>
                    <a:pt x="4605988" y="1039146"/>
                    <a:pt x="4622224" y="1057509"/>
                  </a:cubicBezTo>
                  <a:cubicBezTo>
                    <a:pt x="4653911" y="1094907"/>
                    <a:pt x="4686831" y="1131409"/>
                    <a:pt x="4717510" y="1169143"/>
                  </a:cubicBezTo>
                  <a:cubicBezTo>
                    <a:pt x="4733186" y="1187730"/>
                    <a:pt x="4748862" y="1206430"/>
                    <a:pt x="4764986" y="1224681"/>
                  </a:cubicBezTo>
                  <a:cubicBezTo>
                    <a:pt x="4780886" y="1243044"/>
                    <a:pt x="4797233" y="1261071"/>
                    <a:pt x="4813021" y="1279994"/>
                  </a:cubicBezTo>
                  <a:cubicBezTo>
                    <a:pt x="4877292" y="1354230"/>
                    <a:pt x="4941339" y="1428914"/>
                    <a:pt x="5001915" y="1506846"/>
                  </a:cubicBezTo>
                  <a:cubicBezTo>
                    <a:pt x="5062603" y="1584665"/>
                    <a:pt x="5118252" y="1666739"/>
                    <a:pt x="5170542" y="1751165"/>
                  </a:cubicBezTo>
                  <a:cubicBezTo>
                    <a:pt x="5274898" y="1920240"/>
                    <a:pt x="5363579" y="2101295"/>
                    <a:pt x="5428969" y="2293660"/>
                  </a:cubicBezTo>
                  <a:cubicBezTo>
                    <a:pt x="5494136" y="2485801"/>
                    <a:pt x="5533102" y="2690819"/>
                    <a:pt x="5534893" y="2899307"/>
                  </a:cubicBezTo>
                  <a:cubicBezTo>
                    <a:pt x="5536124" y="3003439"/>
                    <a:pt x="5526831" y="3108132"/>
                    <a:pt x="5508804" y="3211144"/>
                  </a:cubicBezTo>
                  <a:cubicBezTo>
                    <a:pt x="5490441" y="3314157"/>
                    <a:pt x="5462336" y="3415490"/>
                    <a:pt x="5426282" y="3513352"/>
                  </a:cubicBezTo>
                  <a:cubicBezTo>
                    <a:pt x="5363355" y="3684890"/>
                    <a:pt x="5302219" y="3856428"/>
                    <a:pt x="5248250" y="4030542"/>
                  </a:cubicBezTo>
                  <a:lnTo>
                    <a:pt x="5208612" y="4161771"/>
                  </a:lnTo>
                  <a:lnTo>
                    <a:pt x="5170318" y="4294680"/>
                  </a:lnTo>
                  <a:lnTo>
                    <a:pt x="5132248" y="4430164"/>
                  </a:lnTo>
                  <a:lnTo>
                    <a:pt x="5112765" y="4498914"/>
                  </a:lnTo>
                  <a:lnTo>
                    <a:pt x="5091715" y="4569119"/>
                  </a:lnTo>
                  <a:cubicBezTo>
                    <a:pt x="5085221" y="4592297"/>
                    <a:pt x="5076823" y="4616482"/>
                    <a:pt x="5068985" y="4640220"/>
                  </a:cubicBezTo>
                  <a:cubicBezTo>
                    <a:pt x="5060699" y="4664182"/>
                    <a:pt x="5053981" y="4687807"/>
                    <a:pt x="5043904" y="4712105"/>
                  </a:cubicBezTo>
                  <a:lnTo>
                    <a:pt x="5015799" y="4784438"/>
                  </a:lnTo>
                  <a:cubicBezTo>
                    <a:pt x="5005274" y="4808511"/>
                    <a:pt x="4993965" y="4832473"/>
                    <a:pt x="4982880" y="4856435"/>
                  </a:cubicBezTo>
                  <a:cubicBezTo>
                    <a:pt x="4936524" y="4951273"/>
                    <a:pt x="4881099" y="5044096"/>
                    <a:pt x="4817276" y="5125275"/>
                  </a:cubicBezTo>
                  <a:cubicBezTo>
                    <a:pt x="4755244" y="5208805"/>
                    <a:pt x="4686943" y="5282817"/>
                    <a:pt x="4618753" y="5355374"/>
                  </a:cubicBezTo>
                  <a:cubicBezTo>
                    <a:pt x="4602069" y="5374073"/>
                    <a:pt x="4584154" y="5391092"/>
                    <a:pt x="4566575" y="5408560"/>
                  </a:cubicBezTo>
                  <a:lnTo>
                    <a:pt x="4513837" y="5461186"/>
                  </a:lnTo>
                  <a:cubicBezTo>
                    <a:pt x="4496593" y="5479101"/>
                    <a:pt x="4477894" y="5495560"/>
                    <a:pt x="4459531" y="5512580"/>
                  </a:cubicBezTo>
                  <a:lnTo>
                    <a:pt x="4404554" y="5563526"/>
                  </a:lnTo>
                  <a:cubicBezTo>
                    <a:pt x="4386527" y="5580770"/>
                    <a:pt x="4366932" y="5596670"/>
                    <a:pt x="4348009" y="5613017"/>
                  </a:cubicBezTo>
                  <a:lnTo>
                    <a:pt x="4290568" y="5661948"/>
                  </a:lnTo>
                  <a:lnTo>
                    <a:pt x="4276124" y="5674153"/>
                  </a:lnTo>
                  <a:lnTo>
                    <a:pt x="4261120" y="5685798"/>
                  </a:lnTo>
                  <a:lnTo>
                    <a:pt x="4231112" y="5708976"/>
                  </a:lnTo>
                  <a:lnTo>
                    <a:pt x="4170984" y="5755443"/>
                  </a:lnTo>
                  <a:cubicBezTo>
                    <a:pt x="4130227" y="5785563"/>
                    <a:pt x="4087790" y="5813892"/>
                    <a:pt x="4046025" y="5843228"/>
                  </a:cubicBezTo>
                  <a:cubicBezTo>
                    <a:pt x="4002917" y="5870437"/>
                    <a:pt x="3959248" y="5897309"/>
                    <a:pt x="3915356" y="5923735"/>
                  </a:cubicBezTo>
                  <a:cubicBezTo>
                    <a:pt x="3737659" y="6026299"/>
                    <a:pt x="3544847" y="6106022"/>
                    <a:pt x="3346323" y="6158872"/>
                  </a:cubicBezTo>
                  <a:cubicBezTo>
                    <a:pt x="3147800" y="6211946"/>
                    <a:pt x="2944462" y="6239714"/>
                    <a:pt x="2743476" y="6247328"/>
                  </a:cubicBezTo>
                  <a:lnTo>
                    <a:pt x="2668120" y="6249344"/>
                  </a:lnTo>
                  <a:lnTo>
                    <a:pt x="2630498" y="6250127"/>
                  </a:lnTo>
                  <a:lnTo>
                    <a:pt x="2592988" y="6249568"/>
                  </a:lnTo>
                  <a:lnTo>
                    <a:pt x="2518080" y="6247777"/>
                  </a:lnTo>
                  <a:cubicBezTo>
                    <a:pt x="2493110" y="6247105"/>
                    <a:pt x="2468365" y="6246881"/>
                    <a:pt x="2442948" y="6244529"/>
                  </a:cubicBezTo>
                  <a:cubicBezTo>
                    <a:pt x="2392337" y="6240722"/>
                    <a:pt x="2341950" y="6237699"/>
                    <a:pt x="2291676" y="6232213"/>
                  </a:cubicBezTo>
                  <a:lnTo>
                    <a:pt x="2141412" y="6212394"/>
                  </a:lnTo>
                  <a:lnTo>
                    <a:pt x="1992715" y="6184961"/>
                  </a:lnTo>
                  <a:cubicBezTo>
                    <a:pt x="1943561" y="6173988"/>
                    <a:pt x="1894630" y="6162231"/>
                    <a:pt x="1845811" y="6151034"/>
                  </a:cubicBezTo>
                  <a:cubicBezTo>
                    <a:pt x="1797215" y="6138829"/>
                    <a:pt x="1749180" y="6123938"/>
                    <a:pt x="1701033" y="6110724"/>
                  </a:cubicBezTo>
                  <a:cubicBezTo>
                    <a:pt x="1676847" y="6104566"/>
                    <a:pt x="1653334" y="6095833"/>
                    <a:pt x="1629484" y="6088219"/>
                  </a:cubicBezTo>
                  <a:lnTo>
                    <a:pt x="1558383" y="6064929"/>
                  </a:lnTo>
                  <a:cubicBezTo>
                    <a:pt x="1369713" y="6000210"/>
                    <a:pt x="1186978" y="5921271"/>
                    <a:pt x="1011968" y="5828896"/>
                  </a:cubicBezTo>
                  <a:cubicBezTo>
                    <a:pt x="837071" y="5736408"/>
                    <a:pt x="668556" y="5631940"/>
                    <a:pt x="511237" y="5512356"/>
                  </a:cubicBezTo>
                  <a:cubicBezTo>
                    <a:pt x="471152" y="5483468"/>
                    <a:pt x="433642" y="5451220"/>
                    <a:pt x="395572" y="5419757"/>
                  </a:cubicBezTo>
                  <a:cubicBezTo>
                    <a:pt x="356831" y="5388965"/>
                    <a:pt x="321112" y="5354926"/>
                    <a:pt x="284722" y="5321559"/>
                  </a:cubicBezTo>
                  <a:lnTo>
                    <a:pt x="257513" y="5296477"/>
                  </a:lnTo>
                  <a:lnTo>
                    <a:pt x="243853" y="5283937"/>
                  </a:lnTo>
                  <a:lnTo>
                    <a:pt x="230752" y="5270836"/>
                  </a:lnTo>
                  <a:lnTo>
                    <a:pt x="178574" y="5218322"/>
                  </a:lnTo>
                  <a:cubicBezTo>
                    <a:pt x="161331" y="5200631"/>
                    <a:pt x="143191" y="5183948"/>
                    <a:pt x="126508" y="5165584"/>
                  </a:cubicBezTo>
                  <a:lnTo>
                    <a:pt x="76345" y="5111167"/>
                  </a:lnTo>
                  <a:cubicBezTo>
                    <a:pt x="59774" y="5092916"/>
                    <a:pt x="42530" y="5075112"/>
                    <a:pt x="26407" y="5056413"/>
                  </a:cubicBezTo>
                  <a:lnTo>
                    <a:pt x="0" y="5024776"/>
                  </a:lnTo>
                  <a:lnTo>
                    <a:pt x="0" y="4492798"/>
                  </a:lnTo>
                  <a:lnTo>
                    <a:pt x="28534" y="4537879"/>
                  </a:lnTo>
                  <a:cubicBezTo>
                    <a:pt x="41299" y="4556130"/>
                    <a:pt x="54175" y="4574382"/>
                    <a:pt x="66604" y="4592745"/>
                  </a:cubicBezTo>
                  <a:lnTo>
                    <a:pt x="104114" y="4647834"/>
                  </a:lnTo>
                  <a:lnTo>
                    <a:pt x="143751" y="4701580"/>
                  </a:lnTo>
                  <a:cubicBezTo>
                    <a:pt x="156964" y="4719495"/>
                    <a:pt x="169728" y="4737746"/>
                    <a:pt x="182717" y="4755773"/>
                  </a:cubicBezTo>
                  <a:lnTo>
                    <a:pt x="223810" y="4808399"/>
                  </a:lnTo>
                  <a:lnTo>
                    <a:pt x="264679" y="4861249"/>
                  </a:lnTo>
                  <a:cubicBezTo>
                    <a:pt x="278563" y="4878717"/>
                    <a:pt x="293455" y="4895288"/>
                    <a:pt x="307788" y="4912420"/>
                  </a:cubicBezTo>
                  <a:lnTo>
                    <a:pt x="351232" y="4963254"/>
                  </a:lnTo>
                  <a:cubicBezTo>
                    <a:pt x="365788" y="4980162"/>
                    <a:pt x="381688" y="4995837"/>
                    <a:pt x="397028" y="5012185"/>
                  </a:cubicBezTo>
                  <a:lnTo>
                    <a:pt x="443496" y="5060444"/>
                  </a:lnTo>
                  <a:lnTo>
                    <a:pt x="455140" y="5072537"/>
                  </a:lnTo>
                  <a:lnTo>
                    <a:pt x="467345" y="5083958"/>
                  </a:lnTo>
                  <a:lnTo>
                    <a:pt x="491755" y="5106912"/>
                  </a:lnTo>
                  <a:lnTo>
                    <a:pt x="540686" y="5152819"/>
                  </a:lnTo>
                  <a:lnTo>
                    <a:pt x="552890" y="5164353"/>
                  </a:lnTo>
                  <a:lnTo>
                    <a:pt x="565655" y="5175214"/>
                  </a:lnTo>
                  <a:lnTo>
                    <a:pt x="591072" y="5197048"/>
                  </a:lnTo>
                  <a:cubicBezTo>
                    <a:pt x="624999" y="5226160"/>
                    <a:pt x="658366" y="5256056"/>
                    <a:pt x="694197" y="5283041"/>
                  </a:cubicBezTo>
                  <a:cubicBezTo>
                    <a:pt x="834272" y="5394675"/>
                    <a:pt x="985207" y="5493881"/>
                    <a:pt x="1146221" y="5573716"/>
                  </a:cubicBezTo>
                  <a:cubicBezTo>
                    <a:pt x="1307122" y="5653774"/>
                    <a:pt x="1476869" y="5715918"/>
                    <a:pt x="1650982" y="5758130"/>
                  </a:cubicBezTo>
                  <a:lnTo>
                    <a:pt x="1716485" y="5772798"/>
                  </a:lnTo>
                  <a:cubicBezTo>
                    <a:pt x="1738431" y="5777390"/>
                    <a:pt x="1759929" y="5783100"/>
                    <a:pt x="1782211" y="5786235"/>
                  </a:cubicBezTo>
                  <a:lnTo>
                    <a:pt x="1848386" y="5796984"/>
                  </a:lnTo>
                  <a:lnTo>
                    <a:pt x="1881417" y="5802359"/>
                  </a:lnTo>
                  <a:cubicBezTo>
                    <a:pt x="1892390" y="5804151"/>
                    <a:pt x="1903363" y="5806054"/>
                    <a:pt x="1914560" y="5807061"/>
                  </a:cubicBezTo>
                  <a:cubicBezTo>
                    <a:pt x="1959012" y="5811765"/>
                    <a:pt x="2003241" y="5817251"/>
                    <a:pt x="2047469" y="5821282"/>
                  </a:cubicBezTo>
                  <a:lnTo>
                    <a:pt x="2180601" y="5828896"/>
                  </a:lnTo>
                  <a:lnTo>
                    <a:pt x="2313622" y="5830463"/>
                  </a:lnTo>
                  <a:cubicBezTo>
                    <a:pt x="2335680" y="5830799"/>
                    <a:pt x="2357962" y="5829008"/>
                    <a:pt x="2380021" y="5828448"/>
                  </a:cubicBezTo>
                  <a:lnTo>
                    <a:pt x="2446195" y="5826433"/>
                  </a:lnTo>
                  <a:cubicBezTo>
                    <a:pt x="2468029" y="5826208"/>
                    <a:pt x="2490647" y="5824193"/>
                    <a:pt x="2513041" y="5822737"/>
                  </a:cubicBezTo>
                  <a:lnTo>
                    <a:pt x="2580111" y="5818258"/>
                  </a:lnTo>
                  <a:lnTo>
                    <a:pt x="2613590" y="5816355"/>
                  </a:lnTo>
                  <a:lnTo>
                    <a:pt x="2646845" y="5813108"/>
                  </a:lnTo>
                  <a:cubicBezTo>
                    <a:pt x="2669016" y="5810869"/>
                    <a:pt x="2691074" y="5808741"/>
                    <a:pt x="2713244" y="5806838"/>
                  </a:cubicBezTo>
                  <a:cubicBezTo>
                    <a:pt x="2889933" y="5789371"/>
                    <a:pt x="3062815" y="5762050"/>
                    <a:pt x="3230882" y="5721292"/>
                  </a:cubicBezTo>
                  <a:cubicBezTo>
                    <a:pt x="3398837" y="5680423"/>
                    <a:pt x="3562426" y="5626902"/>
                    <a:pt x="3720416" y="5556472"/>
                  </a:cubicBezTo>
                  <a:cubicBezTo>
                    <a:pt x="3759381" y="5537997"/>
                    <a:pt x="3798347" y="5518962"/>
                    <a:pt x="3837425" y="5499927"/>
                  </a:cubicBezTo>
                  <a:cubicBezTo>
                    <a:pt x="3875271" y="5478765"/>
                    <a:pt x="3913900" y="5458610"/>
                    <a:pt x="3951634" y="5436552"/>
                  </a:cubicBezTo>
                  <a:lnTo>
                    <a:pt x="4007284" y="5401841"/>
                  </a:lnTo>
                  <a:lnTo>
                    <a:pt x="4035164" y="5384374"/>
                  </a:lnTo>
                  <a:lnTo>
                    <a:pt x="4049049" y="5375640"/>
                  </a:lnTo>
                  <a:lnTo>
                    <a:pt x="4062485" y="5366123"/>
                  </a:lnTo>
                  <a:lnTo>
                    <a:pt x="4116567" y="5328277"/>
                  </a:lnTo>
                  <a:cubicBezTo>
                    <a:pt x="4134594" y="5315624"/>
                    <a:pt x="4152957" y="5303420"/>
                    <a:pt x="4169976" y="5289199"/>
                  </a:cubicBezTo>
                  <a:lnTo>
                    <a:pt x="4222042" y="5247994"/>
                  </a:lnTo>
                  <a:cubicBezTo>
                    <a:pt x="4239398" y="5234222"/>
                    <a:pt x="4256865" y="5220562"/>
                    <a:pt x="4273213" y="5205558"/>
                  </a:cubicBezTo>
                  <a:lnTo>
                    <a:pt x="4323151" y="5161329"/>
                  </a:lnTo>
                  <a:cubicBezTo>
                    <a:pt x="4339611" y="5146437"/>
                    <a:pt x="4356631" y="5131881"/>
                    <a:pt x="4371971" y="5116093"/>
                  </a:cubicBezTo>
                  <a:cubicBezTo>
                    <a:pt x="4435457" y="5054398"/>
                    <a:pt x="4496258" y="4991135"/>
                    <a:pt x="4546868" y="4924400"/>
                  </a:cubicBezTo>
                  <a:cubicBezTo>
                    <a:pt x="4600054" y="4858450"/>
                    <a:pt x="4640699" y="4788916"/>
                    <a:pt x="4675634" y="4715352"/>
                  </a:cubicBezTo>
                  <a:lnTo>
                    <a:pt x="4700155" y="4659255"/>
                  </a:lnTo>
                  <a:lnTo>
                    <a:pt x="4721206" y="4600135"/>
                  </a:lnTo>
                  <a:cubicBezTo>
                    <a:pt x="4728707" y="4580988"/>
                    <a:pt x="4733970" y="4559266"/>
                    <a:pt x="4740465" y="4538887"/>
                  </a:cubicBezTo>
                  <a:cubicBezTo>
                    <a:pt x="4746623" y="4518061"/>
                    <a:pt x="4753005" y="4497906"/>
                    <a:pt x="4758492" y="4475848"/>
                  </a:cubicBezTo>
                  <a:cubicBezTo>
                    <a:pt x="4803168" y="4303637"/>
                    <a:pt x="4840902" y="4115080"/>
                    <a:pt x="4891288" y="3930329"/>
                  </a:cubicBezTo>
                  <a:cubicBezTo>
                    <a:pt x="4940891" y="3744906"/>
                    <a:pt x="5000235" y="3562059"/>
                    <a:pt x="5066298" y="3382235"/>
                  </a:cubicBezTo>
                  <a:cubicBezTo>
                    <a:pt x="5124186" y="3226932"/>
                    <a:pt x="5154530" y="3064015"/>
                    <a:pt x="5156994" y="2898635"/>
                  </a:cubicBezTo>
                  <a:cubicBezTo>
                    <a:pt x="5159681" y="2733255"/>
                    <a:pt x="5132920" y="2565636"/>
                    <a:pt x="5083317" y="2402047"/>
                  </a:cubicBezTo>
                  <a:cubicBezTo>
                    <a:pt x="5033938" y="2238123"/>
                    <a:pt x="4960150" y="2079013"/>
                    <a:pt x="4871022" y="1926958"/>
                  </a:cubicBezTo>
                  <a:cubicBezTo>
                    <a:pt x="4826570" y="1850818"/>
                    <a:pt x="4777415" y="1776918"/>
                    <a:pt x="4727028" y="1703577"/>
                  </a:cubicBezTo>
                  <a:cubicBezTo>
                    <a:pt x="4676418" y="1630349"/>
                    <a:pt x="4622784" y="1558464"/>
                    <a:pt x="4563776" y="1490834"/>
                  </a:cubicBezTo>
                  <a:cubicBezTo>
                    <a:pt x="4503647" y="1423764"/>
                    <a:pt x="4439041" y="1359157"/>
                    <a:pt x="4370291" y="1300596"/>
                  </a:cubicBezTo>
                  <a:cubicBezTo>
                    <a:pt x="4336812" y="1270141"/>
                    <a:pt x="4301541" y="1242148"/>
                    <a:pt x="4266046" y="1214491"/>
                  </a:cubicBezTo>
                  <a:cubicBezTo>
                    <a:pt x="4248355" y="1200607"/>
                    <a:pt x="4230776" y="1186611"/>
                    <a:pt x="4212973" y="1173062"/>
                  </a:cubicBezTo>
                  <a:cubicBezTo>
                    <a:pt x="4194722" y="1160074"/>
                    <a:pt x="4176359" y="1147197"/>
                    <a:pt x="4157995" y="1134545"/>
                  </a:cubicBezTo>
                  <a:cubicBezTo>
                    <a:pt x="4011426" y="1031980"/>
                    <a:pt x="3855004" y="948562"/>
                    <a:pt x="3697126" y="881044"/>
                  </a:cubicBezTo>
                  <a:lnTo>
                    <a:pt x="3637670" y="856747"/>
                  </a:lnTo>
                  <a:lnTo>
                    <a:pt x="3608222" y="844318"/>
                  </a:lnTo>
                  <a:cubicBezTo>
                    <a:pt x="3598480" y="840063"/>
                    <a:pt x="3588179" y="837040"/>
                    <a:pt x="3578214" y="833457"/>
                  </a:cubicBezTo>
                  <a:lnTo>
                    <a:pt x="3518309" y="812294"/>
                  </a:lnTo>
                  <a:cubicBezTo>
                    <a:pt x="3513383" y="810503"/>
                    <a:pt x="3508344" y="808823"/>
                    <a:pt x="3503417" y="806920"/>
                  </a:cubicBezTo>
                  <a:cubicBezTo>
                    <a:pt x="3498603" y="804792"/>
                    <a:pt x="3494236" y="801993"/>
                    <a:pt x="3489533" y="799642"/>
                  </a:cubicBezTo>
                  <a:cubicBezTo>
                    <a:pt x="3480240" y="794827"/>
                    <a:pt x="3470498" y="791020"/>
                    <a:pt x="3460869" y="787101"/>
                  </a:cubicBezTo>
                  <a:lnTo>
                    <a:pt x="3402980" y="763475"/>
                  </a:lnTo>
                  <a:lnTo>
                    <a:pt x="3374092" y="751606"/>
                  </a:lnTo>
                  <a:cubicBezTo>
                    <a:pt x="3364462" y="747688"/>
                    <a:pt x="3354945" y="743433"/>
                    <a:pt x="3344980" y="740409"/>
                  </a:cubicBezTo>
                  <a:lnTo>
                    <a:pt x="3226627" y="700772"/>
                  </a:lnTo>
                  <a:cubicBezTo>
                    <a:pt x="3067405" y="652849"/>
                    <a:pt x="2902697" y="625192"/>
                    <a:pt x="2735750" y="614667"/>
                  </a:cubicBezTo>
                  <a:cubicBezTo>
                    <a:pt x="2714811" y="613435"/>
                    <a:pt x="2694209" y="610860"/>
                    <a:pt x="2673158" y="610412"/>
                  </a:cubicBezTo>
                  <a:lnTo>
                    <a:pt x="2610119" y="609628"/>
                  </a:lnTo>
                  <a:lnTo>
                    <a:pt x="2547080" y="608620"/>
                  </a:lnTo>
                  <a:cubicBezTo>
                    <a:pt x="2536443" y="608173"/>
                    <a:pt x="2526365" y="608397"/>
                    <a:pt x="2516400" y="608844"/>
                  </a:cubicBezTo>
                  <a:lnTo>
                    <a:pt x="2486280" y="609740"/>
                  </a:lnTo>
                  <a:cubicBezTo>
                    <a:pt x="2466125" y="609852"/>
                    <a:pt x="2446307" y="611868"/>
                    <a:pt x="2426376" y="613099"/>
                  </a:cubicBezTo>
                  <a:cubicBezTo>
                    <a:pt x="2406333" y="613995"/>
                    <a:pt x="2386627" y="616458"/>
                    <a:pt x="2366920" y="618474"/>
                  </a:cubicBezTo>
                  <a:cubicBezTo>
                    <a:pt x="2357066" y="619482"/>
                    <a:pt x="2347101" y="620153"/>
                    <a:pt x="2337248" y="621497"/>
                  </a:cubicBezTo>
                  <a:lnTo>
                    <a:pt x="2307800" y="625528"/>
                  </a:lnTo>
                  <a:lnTo>
                    <a:pt x="2278351" y="629559"/>
                  </a:lnTo>
                  <a:lnTo>
                    <a:pt x="2249127" y="634710"/>
                  </a:lnTo>
                  <a:cubicBezTo>
                    <a:pt x="2093377" y="661918"/>
                    <a:pt x="1942329" y="710849"/>
                    <a:pt x="1796096" y="781726"/>
                  </a:cubicBezTo>
                  <a:cubicBezTo>
                    <a:pt x="1649751" y="852268"/>
                    <a:pt x="1508892" y="944307"/>
                    <a:pt x="1370833" y="1048663"/>
                  </a:cubicBezTo>
                  <a:cubicBezTo>
                    <a:pt x="1232774" y="1153244"/>
                    <a:pt x="1097290" y="1269917"/>
                    <a:pt x="959790" y="1390844"/>
                  </a:cubicBezTo>
                  <a:lnTo>
                    <a:pt x="749062" y="1577611"/>
                  </a:lnTo>
                  <a:cubicBezTo>
                    <a:pt x="674602" y="1642329"/>
                    <a:pt x="599806" y="1704137"/>
                    <a:pt x="524786" y="1763145"/>
                  </a:cubicBezTo>
                  <a:cubicBezTo>
                    <a:pt x="374858" y="1881498"/>
                    <a:pt x="223810" y="1987422"/>
                    <a:pt x="84071" y="2098496"/>
                  </a:cubicBezTo>
                  <a:lnTo>
                    <a:pt x="0" y="2168094"/>
                  </a:lnTo>
                  <a:lnTo>
                    <a:pt x="0" y="1576676"/>
                  </a:lnTo>
                  <a:lnTo>
                    <a:pt x="174655" y="1387597"/>
                  </a:lnTo>
                  <a:cubicBezTo>
                    <a:pt x="238926" y="1320079"/>
                    <a:pt x="302749" y="1254577"/>
                    <a:pt x="363661" y="1188626"/>
                  </a:cubicBezTo>
                  <a:lnTo>
                    <a:pt x="458052" y="1086397"/>
                  </a:lnTo>
                  <a:cubicBezTo>
                    <a:pt x="490635" y="1051351"/>
                    <a:pt x="523666" y="1016416"/>
                    <a:pt x="557257" y="981593"/>
                  </a:cubicBezTo>
                  <a:cubicBezTo>
                    <a:pt x="691510" y="842414"/>
                    <a:pt x="835055" y="705699"/>
                    <a:pt x="994165" y="578389"/>
                  </a:cubicBezTo>
                  <a:cubicBezTo>
                    <a:pt x="1152939" y="451190"/>
                    <a:pt x="1328060" y="333398"/>
                    <a:pt x="1520873" y="237215"/>
                  </a:cubicBezTo>
                  <a:cubicBezTo>
                    <a:pt x="1713238" y="141033"/>
                    <a:pt x="1924302" y="68028"/>
                    <a:pt x="2141748" y="31190"/>
                  </a:cubicBezTo>
                  <a:lnTo>
                    <a:pt x="2182505" y="24360"/>
                  </a:lnTo>
                  <a:cubicBezTo>
                    <a:pt x="2196165" y="22344"/>
                    <a:pt x="2209826" y="20665"/>
                    <a:pt x="2223374" y="18873"/>
                  </a:cubicBezTo>
                  <a:lnTo>
                    <a:pt x="2264355" y="13611"/>
                  </a:lnTo>
                  <a:cubicBezTo>
                    <a:pt x="2278015" y="11931"/>
                    <a:pt x="2291676" y="10924"/>
                    <a:pt x="2305336" y="9580"/>
                  </a:cubicBezTo>
                  <a:cubicBezTo>
                    <a:pt x="2332657" y="7229"/>
                    <a:pt x="2360090" y="4653"/>
                    <a:pt x="2387410" y="3645"/>
                  </a:cubicBezTo>
                  <a:cubicBezTo>
                    <a:pt x="2414731" y="2414"/>
                    <a:pt x="2442164" y="510"/>
                    <a:pt x="2469373" y="622"/>
                  </a:cubicBezTo>
                  <a:close/>
                </a:path>
              </a:pathLst>
            </a:custGeom>
            <a:gradFill>
              <a:gsLst>
                <a:gs pos="37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D531703B-17BF-F12C-083E-B62CFC96A8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176241"/>
              <a:ext cx="5646908" cy="6130481"/>
            </a:xfrm>
            <a:custGeom>
              <a:avLst/>
              <a:gdLst>
                <a:gd name="connsiteX0" fmla="*/ 2616837 w 5646908"/>
                <a:gd name="connsiteY0" fmla="*/ 0 h 6130481"/>
                <a:gd name="connsiteX1" fmla="*/ 4918721 w 5646908"/>
                <a:gd name="connsiteY1" fmla="*/ 1134258 h 6130481"/>
                <a:gd name="connsiteX2" fmla="*/ 5539036 w 5646908"/>
                <a:gd name="connsiteY2" fmla="*/ 3362353 h 6130481"/>
                <a:gd name="connsiteX3" fmla="*/ 4712024 w 5646908"/>
                <a:gd name="connsiteY3" fmla="*/ 5293280 h 6130481"/>
                <a:gd name="connsiteX4" fmla="*/ 2547864 w 5646908"/>
                <a:gd name="connsiteY4" fmla="*/ 6130481 h 6130481"/>
                <a:gd name="connsiteX5" fmla="*/ 263223 w 5646908"/>
                <a:gd name="connsiteY5" fmla="*/ 5212325 h 6130481"/>
                <a:gd name="connsiteX6" fmla="*/ 49974 w 5646908"/>
                <a:gd name="connsiteY6" fmla="*/ 4985345 h 6130481"/>
                <a:gd name="connsiteX7" fmla="*/ 0 w 5646908"/>
                <a:gd name="connsiteY7" fmla="*/ 4920618 h 6130481"/>
                <a:gd name="connsiteX8" fmla="*/ 0 w 5646908"/>
                <a:gd name="connsiteY8" fmla="*/ 3760303 h 6130481"/>
                <a:gd name="connsiteX9" fmla="*/ 80488 w 5646908"/>
                <a:gd name="connsiteY9" fmla="*/ 3974159 h 6130481"/>
                <a:gd name="connsiteX10" fmla="*/ 664748 w 5646908"/>
                <a:gd name="connsiteY10" fmla="*/ 4813600 h 6130481"/>
                <a:gd name="connsiteX11" fmla="*/ 2548087 w 5646908"/>
                <a:gd name="connsiteY11" fmla="*/ 5570406 h 6130481"/>
                <a:gd name="connsiteX12" fmla="*/ 3536561 w 5646908"/>
                <a:gd name="connsiteY12" fmla="*/ 5407153 h 6130481"/>
                <a:gd name="connsiteX13" fmla="*/ 4308035 w 5646908"/>
                <a:gd name="connsiteY13" fmla="*/ 4897241 h 6130481"/>
                <a:gd name="connsiteX14" fmla="*/ 4569038 w 5646908"/>
                <a:gd name="connsiteY14" fmla="*/ 4564802 h 6130481"/>
                <a:gd name="connsiteX15" fmla="*/ 4699147 w 5646908"/>
                <a:gd name="connsiteY15" fmla="*/ 4149952 h 6130481"/>
                <a:gd name="connsiteX16" fmla="*/ 5003034 w 5646908"/>
                <a:gd name="connsiteY16" fmla="*/ 3168421 h 6130481"/>
                <a:gd name="connsiteX17" fmla="*/ 4994189 w 5646908"/>
                <a:gd name="connsiteY17" fmla="*/ 2321590 h 6130481"/>
                <a:gd name="connsiteX18" fmla="*/ 4487860 w 5646908"/>
                <a:gd name="connsiteY18" fmla="*/ 1501856 h 6130481"/>
                <a:gd name="connsiteX19" fmla="*/ 3640469 w 5646908"/>
                <a:gd name="connsiteY19" fmla="*/ 808425 h 6130481"/>
                <a:gd name="connsiteX20" fmla="*/ 2616837 w 5646908"/>
                <a:gd name="connsiteY20" fmla="*/ 559851 h 6130481"/>
                <a:gd name="connsiteX21" fmla="*/ 1762952 w 5646908"/>
                <a:gd name="connsiteY21" fmla="*/ 812008 h 6130481"/>
                <a:gd name="connsiteX22" fmla="*/ 939635 w 5646908"/>
                <a:gd name="connsiteY22" fmla="*/ 1502976 h 6130481"/>
                <a:gd name="connsiteX23" fmla="*/ 585250 w 5646908"/>
                <a:gd name="connsiteY23" fmla="*/ 1831049 h 6130481"/>
                <a:gd name="connsiteX24" fmla="*/ 40403 w 5646908"/>
                <a:gd name="connsiteY24" fmla="*/ 2389556 h 6130481"/>
                <a:gd name="connsiteX25" fmla="*/ 0 w 5646908"/>
                <a:gd name="connsiteY25" fmla="*/ 2456747 h 6130481"/>
                <a:gd name="connsiteX26" fmla="*/ 0 w 5646908"/>
                <a:gd name="connsiteY26" fmla="*/ 1601114 h 6130481"/>
                <a:gd name="connsiteX27" fmla="*/ 93200 w 5646908"/>
                <a:gd name="connsiteY27" fmla="*/ 1513741 h 6130481"/>
                <a:gd name="connsiteX28" fmla="*/ 535423 w 5646908"/>
                <a:gd name="connsiteY28" fmla="*/ 1107273 h 6130481"/>
                <a:gd name="connsiteX29" fmla="*/ 2616837 w 5646908"/>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46908" h="6130481">
                  <a:moveTo>
                    <a:pt x="2616837" y="0"/>
                  </a:moveTo>
                  <a:cubicBezTo>
                    <a:pt x="3596241" y="0"/>
                    <a:pt x="4322479" y="463445"/>
                    <a:pt x="4918721" y="1134258"/>
                  </a:cubicBezTo>
                  <a:cubicBezTo>
                    <a:pt x="5416317" y="1694109"/>
                    <a:pt x="5857703" y="2516643"/>
                    <a:pt x="5539036" y="3362353"/>
                  </a:cubicBezTo>
                  <a:cubicBezTo>
                    <a:pt x="5111758" y="4496612"/>
                    <a:pt x="5300763" y="4716633"/>
                    <a:pt x="4712024" y="5293280"/>
                  </a:cubicBezTo>
                  <a:cubicBezTo>
                    <a:pt x="4123284" y="5869926"/>
                    <a:pt x="3446201" y="6130481"/>
                    <a:pt x="2547864" y="6130481"/>
                  </a:cubicBezTo>
                  <a:cubicBezTo>
                    <a:pt x="1657476" y="6130481"/>
                    <a:pt x="850619" y="5780127"/>
                    <a:pt x="263223" y="5212325"/>
                  </a:cubicBezTo>
                  <a:cubicBezTo>
                    <a:pt x="188497" y="5140091"/>
                    <a:pt x="117321" y="5064339"/>
                    <a:pt x="49974" y="4985345"/>
                  </a:cubicBezTo>
                  <a:lnTo>
                    <a:pt x="0" y="4920618"/>
                  </a:lnTo>
                  <a:lnTo>
                    <a:pt x="0" y="3760303"/>
                  </a:lnTo>
                  <a:lnTo>
                    <a:pt x="80488" y="3974159"/>
                  </a:lnTo>
                  <a:cubicBezTo>
                    <a:pt x="217875" y="4289243"/>
                    <a:pt x="414383" y="4571632"/>
                    <a:pt x="664748" y="4813600"/>
                  </a:cubicBezTo>
                  <a:cubicBezTo>
                    <a:pt x="1169734" y="5301566"/>
                    <a:pt x="1838644" y="5570406"/>
                    <a:pt x="2548087" y="5570406"/>
                  </a:cubicBezTo>
                  <a:cubicBezTo>
                    <a:pt x="2928786" y="5570406"/>
                    <a:pt x="3252156" y="5516996"/>
                    <a:pt x="3536561" y="5407153"/>
                  </a:cubicBezTo>
                  <a:cubicBezTo>
                    <a:pt x="3815366" y="5299438"/>
                    <a:pt x="4067747" y="5132603"/>
                    <a:pt x="4308035" y="4897241"/>
                  </a:cubicBezTo>
                  <a:cubicBezTo>
                    <a:pt x="4475095" y="4733653"/>
                    <a:pt x="4533767" y="4637358"/>
                    <a:pt x="4569038" y="4564802"/>
                  </a:cubicBezTo>
                  <a:cubicBezTo>
                    <a:pt x="4619313" y="4461453"/>
                    <a:pt x="4652792" y="4330784"/>
                    <a:pt x="4699147" y="4149952"/>
                  </a:cubicBezTo>
                  <a:cubicBezTo>
                    <a:pt x="4758491" y="3918846"/>
                    <a:pt x="4839558" y="3602194"/>
                    <a:pt x="5003034" y="3168421"/>
                  </a:cubicBezTo>
                  <a:cubicBezTo>
                    <a:pt x="5103024" y="2902940"/>
                    <a:pt x="5100112" y="2626037"/>
                    <a:pt x="4994189" y="2321590"/>
                  </a:cubicBezTo>
                  <a:cubicBezTo>
                    <a:pt x="4900470" y="2052526"/>
                    <a:pt x="4725460" y="1769129"/>
                    <a:pt x="4487860" y="1501856"/>
                  </a:cubicBezTo>
                  <a:cubicBezTo>
                    <a:pt x="4210285" y="1189683"/>
                    <a:pt x="3933047" y="962832"/>
                    <a:pt x="3640469" y="808425"/>
                  </a:cubicBezTo>
                  <a:cubicBezTo>
                    <a:pt x="3323369" y="641141"/>
                    <a:pt x="2988578" y="559851"/>
                    <a:pt x="2616837" y="559851"/>
                  </a:cubicBezTo>
                  <a:cubicBezTo>
                    <a:pt x="2315413" y="559851"/>
                    <a:pt x="2044110" y="640134"/>
                    <a:pt x="1762952" y="812008"/>
                  </a:cubicBezTo>
                  <a:cubicBezTo>
                    <a:pt x="1472838" y="989593"/>
                    <a:pt x="1197167" y="1250707"/>
                    <a:pt x="939635" y="1502976"/>
                  </a:cubicBezTo>
                  <a:cubicBezTo>
                    <a:pt x="819379" y="1620769"/>
                    <a:pt x="700355" y="1727700"/>
                    <a:pt x="585250" y="1831049"/>
                  </a:cubicBezTo>
                  <a:cubicBezTo>
                    <a:pt x="362317" y="2031140"/>
                    <a:pt x="169840" y="2204022"/>
                    <a:pt x="40403" y="2389556"/>
                  </a:cubicBezTo>
                  <a:lnTo>
                    <a:pt x="0" y="2456747"/>
                  </a:lnTo>
                  <a:lnTo>
                    <a:pt x="0" y="1601114"/>
                  </a:lnTo>
                  <a:lnTo>
                    <a:pt x="93200" y="1513741"/>
                  </a:lnTo>
                  <a:cubicBezTo>
                    <a:pt x="237107" y="1383294"/>
                    <a:pt x="388238" y="1251435"/>
                    <a:pt x="535423" y="1107273"/>
                  </a:cubicBezTo>
                  <a:cubicBezTo>
                    <a:pt x="1124050" y="530627"/>
                    <a:pt x="1718500" y="0"/>
                    <a:pt x="2616837" y="0"/>
                  </a:cubicBezTo>
                  <a:close/>
                </a:path>
              </a:pathLst>
            </a:custGeom>
            <a:gradFill>
              <a:gsLst>
                <a:gs pos="2000">
                  <a:schemeClr val="bg1">
                    <a:alpha val="10000"/>
                  </a:schemeClr>
                </a:gs>
                <a:gs pos="54000">
                  <a:schemeClr val="accent6">
                    <a:alpha val="10000"/>
                  </a:schemeClr>
                </a:gs>
                <a:gs pos="100000">
                  <a:schemeClr val="bg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09CECC42-0032-5335-C9C5-4744B7FE31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176241"/>
              <a:ext cx="5517522" cy="6130481"/>
            </a:xfrm>
            <a:custGeom>
              <a:avLst/>
              <a:gdLst>
                <a:gd name="connsiteX0" fmla="*/ 2549095 w 5517522"/>
                <a:gd name="connsiteY0" fmla="*/ 0 h 6130481"/>
                <a:gd name="connsiteX1" fmla="*/ 4804175 w 5517522"/>
                <a:gd name="connsiteY1" fmla="*/ 1134258 h 6130481"/>
                <a:gd name="connsiteX2" fmla="*/ 5411838 w 5517522"/>
                <a:gd name="connsiteY2" fmla="*/ 3362353 h 6130481"/>
                <a:gd name="connsiteX3" fmla="*/ 4601621 w 5517522"/>
                <a:gd name="connsiteY3" fmla="*/ 5293280 h 6130481"/>
                <a:gd name="connsiteX4" fmla="*/ 2481577 w 5517522"/>
                <a:gd name="connsiteY4" fmla="*/ 6130481 h 6130481"/>
                <a:gd name="connsiteX5" fmla="*/ 243517 w 5517522"/>
                <a:gd name="connsiteY5" fmla="*/ 5212325 h 6130481"/>
                <a:gd name="connsiteX6" fmla="*/ 34587 w 5517522"/>
                <a:gd name="connsiteY6" fmla="*/ 4985345 h 6130481"/>
                <a:gd name="connsiteX7" fmla="*/ 0 w 5517522"/>
                <a:gd name="connsiteY7" fmla="*/ 4939620 h 6130481"/>
                <a:gd name="connsiteX8" fmla="*/ 0 w 5517522"/>
                <a:gd name="connsiteY8" fmla="*/ 3335329 h 6130481"/>
                <a:gd name="connsiteX9" fmla="*/ 17141 w 5517522"/>
                <a:gd name="connsiteY9" fmla="*/ 3448738 h 6130481"/>
                <a:gd name="connsiteX10" fmla="*/ 167489 w 5517522"/>
                <a:gd name="connsiteY10" fmla="*/ 3930490 h 6130481"/>
                <a:gd name="connsiteX11" fmla="*/ 715471 w 5517522"/>
                <a:gd name="connsiteY11" fmla="*/ 4734212 h 6130481"/>
                <a:gd name="connsiteX12" fmla="*/ 2481689 w 5517522"/>
                <a:gd name="connsiteY12" fmla="*/ 5458772 h 6130481"/>
                <a:gd name="connsiteX13" fmla="*/ 4126644 w 5517522"/>
                <a:gd name="connsiteY13" fmla="*/ 4818302 h 6130481"/>
                <a:gd name="connsiteX14" fmla="*/ 4360437 w 5517522"/>
                <a:gd name="connsiteY14" fmla="*/ 4516766 h 6130481"/>
                <a:gd name="connsiteX15" fmla="*/ 4480357 w 5517522"/>
                <a:gd name="connsiteY15" fmla="*/ 4122855 h 6130481"/>
                <a:gd name="connsiteX16" fmla="*/ 4781557 w 5517522"/>
                <a:gd name="connsiteY16" fmla="*/ 3129791 h 6130481"/>
                <a:gd name="connsiteX17" fmla="*/ 4771928 w 5517522"/>
                <a:gd name="connsiteY17" fmla="*/ 2357869 h 6130481"/>
                <a:gd name="connsiteX18" fmla="*/ 4297510 w 5517522"/>
                <a:gd name="connsiteY18" fmla="*/ 1575533 h 6130481"/>
                <a:gd name="connsiteX19" fmla="*/ 3498715 w 5517522"/>
                <a:gd name="connsiteY19" fmla="*/ 907071 h 6130481"/>
                <a:gd name="connsiteX20" fmla="*/ 2549095 w 5517522"/>
                <a:gd name="connsiteY20" fmla="*/ 671821 h 6130481"/>
                <a:gd name="connsiteX21" fmla="*/ 985319 w 5517522"/>
                <a:gd name="connsiteY21" fmla="*/ 1582475 h 6130481"/>
                <a:gd name="connsiteX22" fmla="*/ 634628 w 5517522"/>
                <a:gd name="connsiteY22" fmla="*/ 1913907 h 6130481"/>
                <a:gd name="connsiteX23" fmla="*/ 117662 w 5517522"/>
                <a:gd name="connsiteY23" fmla="*/ 2453044 h 6130481"/>
                <a:gd name="connsiteX24" fmla="*/ 2515 w 5517522"/>
                <a:gd name="connsiteY24" fmla="*/ 2685494 h 6130481"/>
                <a:gd name="connsiteX25" fmla="*/ 0 w 5517522"/>
                <a:gd name="connsiteY25" fmla="*/ 2696965 h 6130481"/>
                <a:gd name="connsiteX26" fmla="*/ 0 w 5517522"/>
                <a:gd name="connsiteY26" fmla="*/ 1587383 h 6130481"/>
                <a:gd name="connsiteX27" fmla="*/ 76951 w 5517522"/>
                <a:gd name="connsiteY27" fmla="*/ 1513741 h 6130481"/>
                <a:gd name="connsiteX28" fmla="*/ 510118 w 5517522"/>
                <a:gd name="connsiteY28" fmla="*/ 1107273 h 6130481"/>
                <a:gd name="connsiteX29" fmla="*/ 2549095 w 5517522"/>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17522" h="6130481">
                  <a:moveTo>
                    <a:pt x="2549095" y="0"/>
                  </a:moveTo>
                  <a:cubicBezTo>
                    <a:pt x="3508568" y="0"/>
                    <a:pt x="4219915" y="463445"/>
                    <a:pt x="4804175" y="1134258"/>
                  </a:cubicBezTo>
                  <a:cubicBezTo>
                    <a:pt x="5291694" y="1694109"/>
                    <a:pt x="5724011" y="2516643"/>
                    <a:pt x="5411838" y="3362353"/>
                  </a:cubicBezTo>
                  <a:cubicBezTo>
                    <a:pt x="4993181" y="4496612"/>
                    <a:pt x="5178268" y="4716633"/>
                    <a:pt x="4601621" y="5293280"/>
                  </a:cubicBezTo>
                  <a:cubicBezTo>
                    <a:pt x="4024863" y="5869926"/>
                    <a:pt x="3361551" y="6130481"/>
                    <a:pt x="2481577" y="6130481"/>
                  </a:cubicBezTo>
                  <a:cubicBezTo>
                    <a:pt x="1609329" y="6130481"/>
                    <a:pt x="818932" y="5780127"/>
                    <a:pt x="243517" y="5212325"/>
                  </a:cubicBezTo>
                  <a:cubicBezTo>
                    <a:pt x="170302" y="5140091"/>
                    <a:pt x="100568" y="5064339"/>
                    <a:pt x="34587" y="4985345"/>
                  </a:cubicBezTo>
                  <a:lnTo>
                    <a:pt x="0" y="4939620"/>
                  </a:lnTo>
                  <a:lnTo>
                    <a:pt x="0" y="3335329"/>
                  </a:lnTo>
                  <a:lnTo>
                    <a:pt x="17141" y="3448738"/>
                  </a:lnTo>
                  <a:cubicBezTo>
                    <a:pt x="50676" y="3613558"/>
                    <a:pt x="100867" y="3774516"/>
                    <a:pt x="167489" y="3930490"/>
                  </a:cubicBezTo>
                  <a:cubicBezTo>
                    <a:pt x="296255" y="4232138"/>
                    <a:pt x="480670" y="4502546"/>
                    <a:pt x="715471" y="4734212"/>
                  </a:cubicBezTo>
                  <a:cubicBezTo>
                    <a:pt x="1188993" y="5201464"/>
                    <a:pt x="1816250" y="5458772"/>
                    <a:pt x="2481689" y="5458772"/>
                  </a:cubicBezTo>
                  <a:cubicBezTo>
                    <a:pt x="3185758" y="5458772"/>
                    <a:pt x="3677755" y="5267191"/>
                    <a:pt x="4126644" y="4818302"/>
                  </a:cubicBezTo>
                  <a:cubicBezTo>
                    <a:pt x="4278363" y="4666583"/>
                    <a:pt x="4329982" y="4580701"/>
                    <a:pt x="4360437" y="4516766"/>
                  </a:cubicBezTo>
                  <a:cubicBezTo>
                    <a:pt x="4404890" y="4423495"/>
                    <a:pt x="4436577" y="4297417"/>
                    <a:pt x="4480357" y="4122855"/>
                  </a:cubicBezTo>
                  <a:cubicBezTo>
                    <a:pt x="4539030" y="3889285"/>
                    <a:pt x="4619425" y="3569275"/>
                    <a:pt x="4781557" y="3129791"/>
                  </a:cubicBezTo>
                  <a:cubicBezTo>
                    <a:pt x="4870238" y="2889503"/>
                    <a:pt x="4867103" y="2637010"/>
                    <a:pt x="4771928" y="2357869"/>
                  </a:cubicBezTo>
                  <a:cubicBezTo>
                    <a:pt x="4684815" y="2102465"/>
                    <a:pt x="4520779" y="1831945"/>
                    <a:pt x="4297510" y="1575533"/>
                  </a:cubicBezTo>
                  <a:cubicBezTo>
                    <a:pt x="4034492" y="1273549"/>
                    <a:pt x="3773266" y="1054983"/>
                    <a:pt x="3498715" y="907071"/>
                  </a:cubicBezTo>
                  <a:cubicBezTo>
                    <a:pt x="3204905" y="748745"/>
                    <a:pt x="2894187" y="671821"/>
                    <a:pt x="2549095" y="671821"/>
                  </a:cubicBezTo>
                  <a:cubicBezTo>
                    <a:pt x="1942553" y="671821"/>
                    <a:pt x="1518298" y="1049273"/>
                    <a:pt x="985319" y="1582475"/>
                  </a:cubicBezTo>
                  <a:cubicBezTo>
                    <a:pt x="865735" y="1702059"/>
                    <a:pt x="748278" y="1809774"/>
                    <a:pt x="634628" y="1913907"/>
                  </a:cubicBezTo>
                  <a:cubicBezTo>
                    <a:pt x="421325" y="2109407"/>
                    <a:pt x="237134" y="2278146"/>
                    <a:pt x="117662" y="2453044"/>
                  </a:cubicBezTo>
                  <a:cubicBezTo>
                    <a:pt x="64756" y="2530415"/>
                    <a:pt x="27022" y="2605799"/>
                    <a:pt x="2515" y="2685494"/>
                  </a:cubicBezTo>
                  <a:lnTo>
                    <a:pt x="0" y="2696965"/>
                  </a:lnTo>
                  <a:lnTo>
                    <a:pt x="0" y="1587383"/>
                  </a:lnTo>
                  <a:lnTo>
                    <a:pt x="76951" y="1513741"/>
                  </a:lnTo>
                  <a:cubicBezTo>
                    <a:pt x="217918" y="1383294"/>
                    <a:pt x="365956" y="1251435"/>
                    <a:pt x="510118" y="1107273"/>
                  </a:cubicBezTo>
                  <a:cubicBezTo>
                    <a:pt x="1086764" y="530627"/>
                    <a:pt x="1669121" y="0"/>
                    <a:pt x="25490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Freeform: Shape 24">
              <a:extLst>
                <a:ext uri="{FF2B5EF4-FFF2-40B4-BE49-F238E27FC236}">
                  <a16:creationId xmlns:a16="http://schemas.microsoft.com/office/drawing/2014/main" id="{170ADBF3-4879-E233-9B5E-803A57E16CB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76241"/>
              <a:ext cx="5517475" cy="6130481"/>
            </a:xfrm>
            <a:custGeom>
              <a:avLst/>
              <a:gdLst>
                <a:gd name="connsiteX0" fmla="*/ 2549095 w 5517475"/>
                <a:gd name="connsiteY0" fmla="*/ 0 h 6130481"/>
                <a:gd name="connsiteX1" fmla="*/ 4804175 w 5517475"/>
                <a:gd name="connsiteY1" fmla="*/ 1134258 h 6130481"/>
                <a:gd name="connsiteX2" fmla="*/ 5411838 w 5517475"/>
                <a:gd name="connsiteY2" fmla="*/ 3362353 h 6130481"/>
                <a:gd name="connsiteX3" fmla="*/ 4601621 w 5517475"/>
                <a:gd name="connsiteY3" fmla="*/ 5293280 h 6130481"/>
                <a:gd name="connsiteX4" fmla="*/ 2481577 w 5517475"/>
                <a:gd name="connsiteY4" fmla="*/ 6130481 h 6130481"/>
                <a:gd name="connsiteX5" fmla="*/ 243517 w 5517475"/>
                <a:gd name="connsiteY5" fmla="*/ 5212325 h 6130481"/>
                <a:gd name="connsiteX6" fmla="*/ 34587 w 5517475"/>
                <a:gd name="connsiteY6" fmla="*/ 4985345 h 6130481"/>
                <a:gd name="connsiteX7" fmla="*/ 0 w 5517475"/>
                <a:gd name="connsiteY7" fmla="*/ 4939620 h 6130481"/>
                <a:gd name="connsiteX8" fmla="*/ 0 w 5517475"/>
                <a:gd name="connsiteY8" fmla="*/ 3799573 h 6130481"/>
                <a:gd name="connsiteX9" fmla="*/ 64364 w 5517475"/>
                <a:gd name="connsiteY9" fmla="*/ 3974159 h 6130481"/>
                <a:gd name="connsiteX10" fmla="*/ 636644 w 5517475"/>
                <a:gd name="connsiteY10" fmla="*/ 4813600 h 6130481"/>
                <a:gd name="connsiteX11" fmla="*/ 2481577 w 5517475"/>
                <a:gd name="connsiteY11" fmla="*/ 5570406 h 6130481"/>
                <a:gd name="connsiteX12" fmla="*/ 3449896 w 5517475"/>
                <a:gd name="connsiteY12" fmla="*/ 5407153 h 6130481"/>
                <a:gd name="connsiteX13" fmla="*/ 4205695 w 5517475"/>
                <a:gd name="connsiteY13" fmla="*/ 4897241 h 6130481"/>
                <a:gd name="connsiteX14" fmla="*/ 4461434 w 5517475"/>
                <a:gd name="connsiteY14" fmla="*/ 4564802 h 6130481"/>
                <a:gd name="connsiteX15" fmla="*/ 4588969 w 5517475"/>
                <a:gd name="connsiteY15" fmla="*/ 4149952 h 6130481"/>
                <a:gd name="connsiteX16" fmla="*/ 4886585 w 5517475"/>
                <a:gd name="connsiteY16" fmla="*/ 3168421 h 6130481"/>
                <a:gd name="connsiteX17" fmla="*/ 4877964 w 5517475"/>
                <a:gd name="connsiteY17" fmla="*/ 2321590 h 6130481"/>
                <a:gd name="connsiteX18" fmla="*/ 4382048 w 5517475"/>
                <a:gd name="connsiteY18" fmla="*/ 1501856 h 6130481"/>
                <a:gd name="connsiteX19" fmla="*/ 3551900 w 5517475"/>
                <a:gd name="connsiteY19" fmla="*/ 808425 h 6130481"/>
                <a:gd name="connsiteX20" fmla="*/ 2549095 w 5517475"/>
                <a:gd name="connsiteY20" fmla="*/ 559851 h 6130481"/>
                <a:gd name="connsiteX21" fmla="*/ 1712566 w 5517475"/>
                <a:gd name="connsiteY21" fmla="*/ 812008 h 6130481"/>
                <a:gd name="connsiteX22" fmla="*/ 906044 w 5517475"/>
                <a:gd name="connsiteY22" fmla="*/ 1502976 h 6130481"/>
                <a:gd name="connsiteX23" fmla="*/ 558825 w 5517475"/>
                <a:gd name="connsiteY23" fmla="*/ 1831049 h 6130481"/>
                <a:gd name="connsiteX24" fmla="*/ 25063 w 5517475"/>
                <a:gd name="connsiteY24" fmla="*/ 2389556 h 6130481"/>
                <a:gd name="connsiteX25" fmla="*/ 0 w 5517475"/>
                <a:gd name="connsiteY25" fmla="*/ 2432109 h 6130481"/>
                <a:gd name="connsiteX26" fmla="*/ 0 w 5517475"/>
                <a:gd name="connsiteY26" fmla="*/ 1587383 h 6130481"/>
                <a:gd name="connsiteX27" fmla="*/ 76951 w 5517475"/>
                <a:gd name="connsiteY27" fmla="*/ 1513741 h 6130481"/>
                <a:gd name="connsiteX28" fmla="*/ 510118 w 5517475"/>
                <a:gd name="connsiteY28" fmla="*/ 1107273 h 6130481"/>
                <a:gd name="connsiteX29" fmla="*/ 2549095 w 5517475"/>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17475" h="6130481">
                  <a:moveTo>
                    <a:pt x="2549095" y="0"/>
                  </a:moveTo>
                  <a:cubicBezTo>
                    <a:pt x="3508568" y="0"/>
                    <a:pt x="4219915" y="463445"/>
                    <a:pt x="4804175" y="1134258"/>
                  </a:cubicBezTo>
                  <a:cubicBezTo>
                    <a:pt x="5291694" y="1694109"/>
                    <a:pt x="5723899" y="2516643"/>
                    <a:pt x="5411838" y="3362353"/>
                  </a:cubicBezTo>
                  <a:cubicBezTo>
                    <a:pt x="4993181" y="4496612"/>
                    <a:pt x="5178268" y="4716633"/>
                    <a:pt x="4601621" y="5293280"/>
                  </a:cubicBezTo>
                  <a:cubicBezTo>
                    <a:pt x="4024863" y="5869926"/>
                    <a:pt x="3361551" y="6130481"/>
                    <a:pt x="2481577" y="6130481"/>
                  </a:cubicBezTo>
                  <a:cubicBezTo>
                    <a:pt x="1609329" y="6130481"/>
                    <a:pt x="818932" y="5780127"/>
                    <a:pt x="243517" y="5212325"/>
                  </a:cubicBezTo>
                  <a:cubicBezTo>
                    <a:pt x="170302" y="5140091"/>
                    <a:pt x="100568" y="5064339"/>
                    <a:pt x="34587" y="4985345"/>
                  </a:cubicBezTo>
                  <a:lnTo>
                    <a:pt x="0" y="4939620"/>
                  </a:lnTo>
                  <a:lnTo>
                    <a:pt x="0" y="3799573"/>
                  </a:lnTo>
                  <a:lnTo>
                    <a:pt x="64364" y="3974159"/>
                  </a:lnTo>
                  <a:cubicBezTo>
                    <a:pt x="198841" y="4289243"/>
                    <a:pt x="391429" y="4571632"/>
                    <a:pt x="636644" y="4813600"/>
                  </a:cubicBezTo>
                  <a:cubicBezTo>
                    <a:pt x="1131328" y="5301566"/>
                    <a:pt x="1786578" y="5570406"/>
                    <a:pt x="2481577" y="5570406"/>
                  </a:cubicBezTo>
                  <a:cubicBezTo>
                    <a:pt x="2854550" y="5570406"/>
                    <a:pt x="3171314" y="5516996"/>
                    <a:pt x="3449896" y="5407153"/>
                  </a:cubicBezTo>
                  <a:cubicBezTo>
                    <a:pt x="3723103" y="5299438"/>
                    <a:pt x="3970333" y="5132603"/>
                    <a:pt x="4205695" y="4897241"/>
                  </a:cubicBezTo>
                  <a:cubicBezTo>
                    <a:pt x="4369395" y="4733653"/>
                    <a:pt x="4426836" y="4637358"/>
                    <a:pt x="4461434" y="4564802"/>
                  </a:cubicBezTo>
                  <a:cubicBezTo>
                    <a:pt x="4510701" y="4461453"/>
                    <a:pt x="4543509" y="4330784"/>
                    <a:pt x="4588969" y="4149952"/>
                  </a:cubicBezTo>
                  <a:cubicBezTo>
                    <a:pt x="4646969" y="3918846"/>
                    <a:pt x="4726468" y="3602194"/>
                    <a:pt x="4886585" y="3168421"/>
                  </a:cubicBezTo>
                  <a:cubicBezTo>
                    <a:pt x="4984560" y="2902940"/>
                    <a:pt x="4981760" y="2626037"/>
                    <a:pt x="4877964" y="2321590"/>
                  </a:cubicBezTo>
                  <a:cubicBezTo>
                    <a:pt x="4786260" y="2052526"/>
                    <a:pt x="4614834" y="1769129"/>
                    <a:pt x="4382048" y="1501856"/>
                  </a:cubicBezTo>
                  <a:cubicBezTo>
                    <a:pt x="4110072" y="1189683"/>
                    <a:pt x="3838544" y="962832"/>
                    <a:pt x="3551900" y="808425"/>
                  </a:cubicBezTo>
                  <a:cubicBezTo>
                    <a:pt x="3241183" y="641141"/>
                    <a:pt x="2913222" y="559851"/>
                    <a:pt x="2549095" y="559851"/>
                  </a:cubicBezTo>
                  <a:cubicBezTo>
                    <a:pt x="2253830" y="559851"/>
                    <a:pt x="1988013" y="640134"/>
                    <a:pt x="1712566" y="812008"/>
                  </a:cubicBezTo>
                  <a:cubicBezTo>
                    <a:pt x="1428385" y="989593"/>
                    <a:pt x="1158313" y="1250707"/>
                    <a:pt x="906044" y="1502976"/>
                  </a:cubicBezTo>
                  <a:cubicBezTo>
                    <a:pt x="788140" y="1620769"/>
                    <a:pt x="671579" y="1727700"/>
                    <a:pt x="558825" y="1831049"/>
                  </a:cubicBezTo>
                  <a:cubicBezTo>
                    <a:pt x="340371" y="2031140"/>
                    <a:pt x="151813" y="2204022"/>
                    <a:pt x="25063" y="2389556"/>
                  </a:cubicBezTo>
                  <a:lnTo>
                    <a:pt x="0" y="2432109"/>
                  </a:lnTo>
                  <a:lnTo>
                    <a:pt x="0" y="1587383"/>
                  </a:lnTo>
                  <a:lnTo>
                    <a:pt x="76951" y="1513741"/>
                  </a:lnTo>
                  <a:cubicBezTo>
                    <a:pt x="217918" y="1383294"/>
                    <a:pt x="365956" y="1251435"/>
                    <a:pt x="510118" y="1107273"/>
                  </a:cubicBezTo>
                  <a:cubicBezTo>
                    <a:pt x="1086764" y="530627"/>
                    <a:pt x="1669121" y="0"/>
                    <a:pt x="25490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Freeform: Shape 25">
              <a:extLst>
                <a:ext uri="{FF2B5EF4-FFF2-40B4-BE49-F238E27FC236}">
                  <a16:creationId xmlns:a16="http://schemas.microsoft.com/office/drawing/2014/main" id="{86EC10A5-CDE7-270E-7B18-AA6C662BAD9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0"/>
              <a:ext cx="5646974" cy="6483075"/>
            </a:xfrm>
            <a:custGeom>
              <a:avLst/>
              <a:gdLst>
                <a:gd name="connsiteX0" fmla="*/ 2405773 w 5646974"/>
                <a:gd name="connsiteY0" fmla="*/ 0 h 6483075"/>
                <a:gd name="connsiteX1" fmla="*/ 5646974 w 5646974"/>
                <a:gd name="connsiteY1" fmla="*/ 3241538 h 6483075"/>
                <a:gd name="connsiteX2" fmla="*/ 2405773 w 5646974"/>
                <a:gd name="connsiteY2" fmla="*/ 6483075 h 6483075"/>
                <a:gd name="connsiteX3" fmla="*/ 113897 w 5646974"/>
                <a:gd name="connsiteY3" fmla="*/ 5533666 h 6483075"/>
                <a:gd name="connsiteX4" fmla="*/ 0 w 5646974"/>
                <a:gd name="connsiteY4" fmla="*/ 5408336 h 6483075"/>
                <a:gd name="connsiteX5" fmla="*/ 0 w 5646974"/>
                <a:gd name="connsiteY5" fmla="*/ 4983659 h 6483075"/>
                <a:gd name="connsiteX6" fmla="*/ 155731 w 5646974"/>
                <a:gd name="connsiteY6" fmla="*/ 5176047 h 6483075"/>
                <a:gd name="connsiteX7" fmla="*/ 1093706 w 5646974"/>
                <a:gd name="connsiteY7" fmla="*/ 5866903 h 6483075"/>
                <a:gd name="connsiteX8" fmla="*/ 1639673 w 5646974"/>
                <a:gd name="connsiteY8" fmla="*/ 6059940 h 6483075"/>
                <a:gd name="connsiteX9" fmla="*/ 1709990 w 5646974"/>
                <a:gd name="connsiteY9" fmla="*/ 6076287 h 6483075"/>
                <a:gd name="connsiteX10" fmla="*/ 1780307 w 5646974"/>
                <a:gd name="connsiteY10" fmla="*/ 6091963 h 6483075"/>
                <a:gd name="connsiteX11" fmla="*/ 1851072 w 5646974"/>
                <a:gd name="connsiteY11" fmla="*/ 6105176 h 6483075"/>
                <a:gd name="connsiteX12" fmla="*/ 1886455 w 5646974"/>
                <a:gd name="connsiteY12" fmla="*/ 6111782 h 6483075"/>
                <a:gd name="connsiteX13" fmla="*/ 1921949 w 5646974"/>
                <a:gd name="connsiteY13" fmla="*/ 6117716 h 6483075"/>
                <a:gd name="connsiteX14" fmla="*/ 2064152 w 5646974"/>
                <a:gd name="connsiteY14" fmla="*/ 6137647 h 6483075"/>
                <a:gd name="connsiteX15" fmla="*/ 2206914 w 5646974"/>
                <a:gd name="connsiteY15" fmla="*/ 6151195 h 6483075"/>
                <a:gd name="connsiteX16" fmla="*/ 2350011 w 5646974"/>
                <a:gd name="connsiteY16" fmla="*/ 6158250 h 6483075"/>
                <a:gd name="connsiteX17" fmla="*/ 2493109 w 5646974"/>
                <a:gd name="connsiteY17" fmla="*/ 6159705 h 6483075"/>
                <a:gd name="connsiteX18" fmla="*/ 2781321 w 5646974"/>
                <a:gd name="connsiteY18" fmla="*/ 6147277 h 6483075"/>
                <a:gd name="connsiteX19" fmla="*/ 3345091 w 5646974"/>
                <a:gd name="connsiteY19" fmla="*/ 6060276 h 6483075"/>
                <a:gd name="connsiteX20" fmla="*/ 3878853 w 5646974"/>
                <a:gd name="connsiteY20" fmla="*/ 5871718 h 6483075"/>
                <a:gd name="connsiteX21" fmla="*/ 4367267 w 5646974"/>
                <a:gd name="connsiteY21" fmla="*/ 5573093 h 6483075"/>
                <a:gd name="connsiteX22" fmla="*/ 4424484 w 5646974"/>
                <a:gd name="connsiteY22" fmla="*/ 5528529 h 6483075"/>
                <a:gd name="connsiteX23" fmla="*/ 4481252 w 5646974"/>
                <a:gd name="connsiteY23" fmla="*/ 5483069 h 6483075"/>
                <a:gd name="connsiteX24" fmla="*/ 4536790 w 5646974"/>
                <a:gd name="connsiteY24" fmla="*/ 5435818 h 6483075"/>
                <a:gd name="connsiteX25" fmla="*/ 4591543 w 5646974"/>
                <a:gd name="connsiteY25" fmla="*/ 5387671 h 6483075"/>
                <a:gd name="connsiteX26" fmla="*/ 4794209 w 5646974"/>
                <a:gd name="connsiteY26" fmla="*/ 5181198 h 6483075"/>
                <a:gd name="connsiteX27" fmla="*/ 4956678 w 5646974"/>
                <a:gd name="connsiteY27" fmla="*/ 4945836 h 6483075"/>
                <a:gd name="connsiteX28" fmla="*/ 4989262 w 5646974"/>
                <a:gd name="connsiteY28" fmla="*/ 4881453 h 6483075"/>
                <a:gd name="connsiteX29" fmla="*/ 5017814 w 5646974"/>
                <a:gd name="connsiteY29" fmla="*/ 4814607 h 6483075"/>
                <a:gd name="connsiteX30" fmla="*/ 5044127 w 5646974"/>
                <a:gd name="connsiteY30" fmla="*/ 4746193 h 6483075"/>
                <a:gd name="connsiteX31" fmla="*/ 5068425 w 5646974"/>
                <a:gd name="connsiteY31" fmla="*/ 4676436 h 6483075"/>
                <a:gd name="connsiteX32" fmla="*/ 5154641 w 5646974"/>
                <a:gd name="connsiteY32" fmla="*/ 4390352 h 6483075"/>
                <a:gd name="connsiteX33" fmla="*/ 5196854 w 5646974"/>
                <a:gd name="connsiteY33" fmla="*/ 4246134 h 6483075"/>
                <a:gd name="connsiteX34" fmla="*/ 5240299 w 5646974"/>
                <a:gd name="connsiteY34" fmla="*/ 4102140 h 6483075"/>
                <a:gd name="connsiteX35" fmla="*/ 5432440 w 5646974"/>
                <a:gd name="connsiteY35" fmla="*/ 3532884 h 6483075"/>
                <a:gd name="connsiteX36" fmla="*/ 5528846 w 5646974"/>
                <a:gd name="connsiteY36" fmla="*/ 2951647 h 6483075"/>
                <a:gd name="connsiteX37" fmla="*/ 5495927 w 5646974"/>
                <a:gd name="connsiteY37" fmla="*/ 2658733 h 6483075"/>
                <a:gd name="connsiteX38" fmla="*/ 5480027 w 5646974"/>
                <a:gd name="connsiteY38" fmla="*/ 2586848 h 6483075"/>
                <a:gd name="connsiteX39" fmla="*/ 5461328 w 5646974"/>
                <a:gd name="connsiteY39" fmla="*/ 2515635 h 6483075"/>
                <a:gd name="connsiteX40" fmla="*/ 5439605 w 5646974"/>
                <a:gd name="connsiteY40" fmla="*/ 2445317 h 6483075"/>
                <a:gd name="connsiteX41" fmla="*/ 5415532 w 5646974"/>
                <a:gd name="connsiteY41" fmla="*/ 2375896 h 6483075"/>
                <a:gd name="connsiteX42" fmla="*/ 5144564 w 5646974"/>
                <a:gd name="connsiteY42" fmla="*/ 1857138 h 6483075"/>
                <a:gd name="connsiteX43" fmla="*/ 4774838 w 5646974"/>
                <a:gd name="connsiteY43" fmla="*/ 1405450 h 6483075"/>
                <a:gd name="connsiteX44" fmla="*/ 4345769 w 5646974"/>
                <a:gd name="connsiteY44" fmla="*/ 1012323 h 6483075"/>
                <a:gd name="connsiteX45" fmla="*/ 4115334 w 5646974"/>
                <a:gd name="connsiteY45" fmla="*/ 841344 h 6483075"/>
                <a:gd name="connsiteX46" fmla="*/ 3874038 w 5646974"/>
                <a:gd name="connsiteY46" fmla="*/ 691528 h 6483075"/>
                <a:gd name="connsiteX47" fmla="*/ 3359535 w 5646974"/>
                <a:gd name="connsiteY47" fmla="*/ 468819 h 6483075"/>
                <a:gd name="connsiteX48" fmla="*/ 2811105 w 5646974"/>
                <a:gd name="connsiteY48" fmla="*/ 366031 h 6483075"/>
                <a:gd name="connsiteX49" fmla="*/ 2741124 w 5646974"/>
                <a:gd name="connsiteY49" fmla="*/ 361440 h 6483075"/>
                <a:gd name="connsiteX50" fmla="*/ 2671030 w 5646974"/>
                <a:gd name="connsiteY50" fmla="*/ 358417 h 6483075"/>
                <a:gd name="connsiteX51" fmla="*/ 2600713 w 5646974"/>
                <a:gd name="connsiteY51" fmla="*/ 357521 h 6483075"/>
                <a:gd name="connsiteX52" fmla="*/ 2531739 w 5646974"/>
                <a:gd name="connsiteY52" fmla="*/ 358529 h 6483075"/>
                <a:gd name="connsiteX53" fmla="*/ 2259988 w 5646974"/>
                <a:gd name="connsiteY53" fmla="*/ 385289 h 6483075"/>
                <a:gd name="connsiteX54" fmla="*/ 1740670 w 5646974"/>
                <a:gd name="connsiteY54" fmla="*/ 553917 h 6483075"/>
                <a:gd name="connsiteX55" fmla="*/ 1264124 w 5646974"/>
                <a:gd name="connsiteY55" fmla="*/ 853549 h 6483075"/>
                <a:gd name="connsiteX56" fmla="*/ 823074 w 5646974"/>
                <a:gd name="connsiteY56" fmla="*/ 1234136 h 6483075"/>
                <a:gd name="connsiteX57" fmla="*/ 715694 w 5646974"/>
                <a:gd name="connsiteY57" fmla="*/ 1336252 h 6483075"/>
                <a:gd name="connsiteX58" fmla="*/ 606859 w 5646974"/>
                <a:gd name="connsiteY58" fmla="*/ 1440945 h 6483075"/>
                <a:gd name="connsiteX59" fmla="*/ 382023 w 5646974"/>
                <a:gd name="connsiteY59" fmla="*/ 1646074 h 6483075"/>
                <a:gd name="connsiteX60" fmla="*/ 158531 w 5646974"/>
                <a:gd name="connsiteY60" fmla="*/ 1843813 h 6483075"/>
                <a:gd name="connsiteX61" fmla="*/ 0 w 5646974"/>
                <a:gd name="connsiteY61" fmla="*/ 1991775 h 6483075"/>
                <a:gd name="connsiteX62" fmla="*/ 0 w 5646974"/>
                <a:gd name="connsiteY62" fmla="*/ 1074740 h 6483075"/>
                <a:gd name="connsiteX63" fmla="*/ 113897 w 5646974"/>
                <a:gd name="connsiteY63" fmla="*/ 949410 h 6483075"/>
                <a:gd name="connsiteX64" fmla="*/ 2405773 w 5646974"/>
                <a:gd name="connsiteY64" fmla="*/ 0 h 648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646974" h="6483075">
                  <a:moveTo>
                    <a:pt x="2405773" y="0"/>
                  </a:moveTo>
                  <a:cubicBezTo>
                    <a:pt x="4195841" y="0"/>
                    <a:pt x="5646974" y="1451246"/>
                    <a:pt x="5646974" y="3241538"/>
                  </a:cubicBezTo>
                  <a:cubicBezTo>
                    <a:pt x="5646974" y="5031830"/>
                    <a:pt x="4195841" y="6483075"/>
                    <a:pt x="2405773" y="6483075"/>
                  </a:cubicBezTo>
                  <a:cubicBezTo>
                    <a:pt x="1510739" y="6483075"/>
                    <a:pt x="700439" y="6120264"/>
                    <a:pt x="113897" y="5533666"/>
                  </a:cubicBezTo>
                  <a:lnTo>
                    <a:pt x="0" y="5408336"/>
                  </a:lnTo>
                  <a:lnTo>
                    <a:pt x="0" y="4983659"/>
                  </a:lnTo>
                  <a:lnTo>
                    <a:pt x="155731" y="5176047"/>
                  </a:lnTo>
                  <a:cubicBezTo>
                    <a:pt x="417742" y="5469073"/>
                    <a:pt x="741224" y="5704211"/>
                    <a:pt x="1093706" y="5866903"/>
                  </a:cubicBezTo>
                  <a:cubicBezTo>
                    <a:pt x="1269947" y="5948418"/>
                    <a:pt x="1453018" y="6013137"/>
                    <a:pt x="1639673" y="6059940"/>
                  </a:cubicBezTo>
                  <a:lnTo>
                    <a:pt x="1709990" y="6076287"/>
                  </a:lnTo>
                  <a:cubicBezTo>
                    <a:pt x="1733504" y="6081550"/>
                    <a:pt x="1756570" y="6088156"/>
                    <a:pt x="1780307" y="6091963"/>
                  </a:cubicBezTo>
                  <a:lnTo>
                    <a:pt x="1851072" y="6105176"/>
                  </a:lnTo>
                  <a:lnTo>
                    <a:pt x="1886455" y="6111782"/>
                  </a:lnTo>
                  <a:cubicBezTo>
                    <a:pt x="1898212" y="6114021"/>
                    <a:pt x="1909969" y="6116373"/>
                    <a:pt x="1921949" y="6117716"/>
                  </a:cubicBezTo>
                  <a:cubicBezTo>
                    <a:pt x="1969425" y="6124323"/>
                    <a:pt x="2016676" y="6131489"/>
                    <a:pt x="2064152" y="6137647"/>
                  </a:cubicBezTo>
                  <a:cubicBezTo>
                    <a:pt x="2111851" y="6141790"/>
                    <a:pt x="2159438" y="6146381"/>
                    <a:pt x="2206914" y="6151195"/>
                  </a:cubicBezTo>
                  <a:lnTo>
                    <a:pt x="2350011" y="6158250"/>
                  </a:lnTo>
                  <a:cubicBezTo>
                    <a:pt x="2397711" y="6159593"/>
                    <a:pt x="2445410" y="6159146"/>
                    <a:pt x="2493109" y="6159705"/>
                  </a:cubicBezTo>
                  <a:cubicBezTo>
                    <a:pt x="2589068" y="6158137"/>
                    <a:pt x="2685922" y="6154666"/>
                    <a:pt x="2781321" y="6147277"/>
                  </a:cubicBezTo>
                  <a:cubicBezTo>
                    <a:pt x="2972566" y="6132944"/>
                    <a:pt x="3161348" y="6105288"/>
                    <a:pt x="3345091" y="6060276"/>
                  </a:cubicBezTo>
                  <a:cubicBezTo>
                    <a:pt x="3528834" y="6015375"/>
                    <a:pt x="3707539" y="5952785"/>
                    <a:pt x="3878853" y="5871718"/>
                  </a:cubicBezTo>
                  <a:cubicBezTo>
                    <a:pt x="4050167" y="5790428"/>
                    <a:pt x="4213084" y="5689318"/>
                    <a:pt x="4367267" y="5573093"/>
                  </a:cubicBezTo>
                  <a:lnTo>
                    <a:pt x="4424484" y="5528529"/>
                  </a:lnTo>
                  <a:cubicBezTo>
                    <a:pt x="4443631" y="5513637"/>
                    <a:pt x="4463113" y="5499193"/>
                    <a:pt x="4481252" y="5483069"/>
                  </a:cubicBezTo>
                  <a:lnTo>
                    <a:pt x="4536790" y="5435818"/>
                  </a:lnTo>
                  <a:cubicBezTo>
                    <a:pt x="4555265" y="5419918"/>
                    <a:pt x="4574188" y="5404466"/>
                    <a:pt x="4591543" y="5387671"/>
                  </a:cubicBezTo>
                  <a:cubicBezTo>
                    <a:pt x="4662980" y="5321944"/>
                    <a:pt x="4733074" y="5254650"/>
                    <a:pt x="4794209" y="5181198"/>
                  </a:cubicBezTo>
                  <a:cubicBezTo>
                    <a:pt x="4857808" y="5109089"/>
                    <a:pt x="4910434" y="5029926"/>
                    <a:pt x="4956678" y="4945836"/>
                  </a:cubicBezTo>
                  <a:cubicBezTo>
                    <a:pt x="4967651" y="4924450"/>
                    <a:pt x="4978624" y="4903064"/>
                    <a:pt x="4989262" y="4881453"/>
                  </a:cubicBezTo>
                  <a:lnTo>
                    <a:pt x="5017814" y="4814607"/>
                  </a:lnTo>
                  <a:cubicBezTo>
                    <a:pt x="5027891" y="4792549"/>
                    <a:pt x="5035393" y="4769035"/>
                    <a:pt x="5044127" y="4746193"/>
                  </a:cubicBezTo>
                  <a:cubicBezTo>
                    <a:pt x="5052636" y="4723128"/>
                    <a:pt x="5061146" y="4700174"/>
                    <a:pt x="5068425" y="4676436"/>
                  </a:cubicBezTo>
                  <a:cubicBezTo>
                    <a:pt x="5099552" y="4582717"/>
                    <a:pt x="5126985" y="4486422"/>
                    <a:pt x="5154641" y="4390352"/>
                  </a:cubicBezTo>
                  <a:lnTo>
                    <a:pt x="5196854" y="4246134"/>
                  </a:lnTo>
                  <a:lnTo>
                    <a:pt x="5240299" y="4102140"/>
                  </a:lnTo>
                  <a:cubicBezTo>
                    <a:pt x="5299195" y="3910560"/>
                    <a:pt x="5364697" y="3721330"/>
                    <a:pt x="5432440" y="3532884"/>
                  </a:cubicBezTo>
                  <a:cubicBezTo>
                    <a:pt x="5500294" y="3346902"/>
                    <a:pt x="5533549" y="3148714"/>
                    <a:pt x="5528846" y="2951647"/>
                  </a:cubicBezTo>
                  <a:cubicBezTo>
                    <a:pt x="5526831" y="2853113"/>
                    <a:pt x="5515409" y="2755027"/>
                    <a:pt x="5495927" y="2658733"/>
                  </a:cubicBezTo>
                  <a:cubicBezTo>
                    <a:pt x="5491112" y="2634659"/>
                    <a:pt x="5486297" y="2610585"/>
                    <a:pt x="5480027" y="2586848"/>
                  </a:cubicBezTo>
                  <a:cubicBezTo>
                    <a:pt x="5474205" y="2562998"/>
                    <a:pt x="5468718" y="2539036"/>
                    <a:pt x="5461328" y="2515635"/>
                  </a:cubicBezTo>
                  <a:cubicBezTo>
                    <a:pt x="5454386" y="2492009"/>
                    <a:pt x="5447668" y="2468495"/>
                    <a:pt x="5439605" y="2445317"/>
                  </a:cubicBezTo>
                  <a:cubicBezTo>
                    <a:pt x="5431879" y="2422028"/>
                    <a:pt x="5424378" y="2398738"/>
                    <a:pt x="5415532" y="2375896"/>
                  </a:cubicBezTo>
                  <a:cubicBezTo>
                    <a:pt x="5347790" y="2191817"/>
                    <a:pt x="5254071" y="2018599"/>
                    <a:pt x="5144564" y="1857138"/>
                  </a:cubicBezTo>
                  <a:cubicBezTo>
                    <a:pt x="5034946" y="1695565"/>
                    <a:pt x="4909762" y="1545301"/>
                    <a:pt x="4774838" y="1405450"/>
                  </a:cubicBezTo>
                  <a:cubicBezTo>
                    <a:pt x="4638907" y="1265040"/>
                    <a:pt x="4496145" y="1132131"/>
                    <a:pt x="4345769" y="1012323"/>
                  </a:cubicBezTo>
                  <a:cubicBezTo>
                    <a:pt x="4270749" y="952195"/>
                    <a:pt x="4194273" y="894642"/>
                    <a:pt x="4115334" y="841344"/>
                  </a:cubicBezTo>
                  <a:cubicBezTo>
                    <a:pt x="4037067" y="787263"/>
                    <a:pt x="3956336" y="737548"/>
                    <a:pt x="3874038" y="691528"/>
                  </a:cubicBezTo>
                  <a:cubicBezTo>
                    <a:pt x="3709554" y="599712"/>
                    <a:pt x="3537792" y="523349"/>
                    <a:pt x="3359535" y="468819"/>
                  </a:cubicBezTo>
                  <a:cubicBezTo>
                    <a:pt x="3181278" y="414514"/>
                    <a:pt x="2997311" y="380699"/>
                    <a:pt x="2811105" y="366031"/>
                  </a:cubicBezTo>
                  <a:cubicBezTo>
                    <a:pt x="2787703" y="364575"/>
                    <a:pt x="2764525" y="362448"/>
                    <a:pt x="2741124" y="361440"/>
                  </a:cubicBezTo>
                  <a:lnTo>
                    <a:pt x="2671030" y="358417"/>
                  </a:lnTo>
                  <a:lnTo>
                    <a:pt x="2600713" y="357521"/>
                  </a:lnTo>
                  <a:cubicBezTo>
                    <a:pt x="2577087" y="356961"/>
                    <a:pt x="2554805" y="358305"/>
                    <a:pt x="2531739" y="358529"/>
                  </a:cubicBezTo>
                  <a:cubicBezTo>
                    <a:pt x="2440259" y="360992"/>
                    <a:pt x="2349564" y="370285"/>
                    <a:pt x="2259988" y="385289"/>
                  </a:cubicBezTo>
                  <a:cubicBezTo>
                    <a:pt x="2080723" y="415521"/>
                    <a:pt x="1906945" y="473634"/>
                    <a:pt x="1740670" y="553917"/>
                  </a:cubicBezTo>
                  <a:cubicBezTo>
                    <a:pt x="1574506" y="634647"/>
                    <a:pt x="1415844" y="737100"/>
                    <a:pt x="1264124" y="853549"/>
                  </a:cubicBezTo>
                  <a:cubicBezTo>
                    <a:pt x="1112181" y="969886"/>
                    <a:pt x="966508" y="1099212"/>
                    <a:pt x="823074" y="1234136"/>
                  </a:cubicBezTo>
                  <a:cubicBezTo>
                    <a:pt x="787131" y="1267951"/>
                    <a:pt x="751413" y="1301990"/>
                    <a:pt x="715694" y="1336252"/>
                  </a:cubicBezTo>
                  <a:lnTo>
                    <a:pt x="606859" y="1440945"/>
                  </a:lnTo>
                  <a:cubicBezTo>
                    <a:pt x="532623" y="1511374"/>
                    <a:pt x="457267" y="1579452"/>
                    <a:pt x="382023" y="1646074"/>
                  </a:cubicBezTo>
                  <a:lnTo>
                    <a:pt x="158531" y="1843813"/>
                  </a:lnTo>
                  <a:lnTo>
                    <a:pt x="0" y="1991775"/>
                  </a:lnTo>
                  <a:lnTo>
                    <a:pt x="0" y="1074740"/>
                  </a:lnTo>
                  <a:lnTo>
                    <a:pt x="113897" y="949410"/>
                  </a:lnTo>
                  <a:cubicBezTo>
                    <a:pt x="700439" y="362812"/>
                    <a:pt x="1510739" y="0"/>
                    <a:pt x="2405773" y="0"/>
                  </a:cubicBezTo>
                  <a:close/>
                </a:path>
              </a:pathLst>
            </a:custGeom>
            <a:gradFill>
              <a:gsLst>
                <a:gs pos="2000">
                  <a:schemeClr val="bg1">
                    <a:alpha val="10000"/>
                  </a:schemeClr>
                </a:gs>
                <a:gs pos="16000">
                  <a:schemeClr val="accent6">
                    <a:alpha val="10000"/>
                  </a:schemeClr>
                </a:gs>
                <a:gs pos="100000">
                  <a:schemeClr val="bg1">
                    <a:alpha val="10000"/>
                  </a:schemeClr>
                </a:gs>
                <a:gs pos="74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Title 1">
            <a:extLst>
              <a:ext uri="{FF2B5EF4-FFF2-40B4-BE49-F238E27FC236}">
                <a16:creationId xmlns:a16="http://schemas.microsoft.com/office/drawing/2014/main" id="{931C4A6F-706A-6D0C-A986-227E934C8FD6}"/>
              </a:ext>
            </a:extLst>
          </p:cNvPr>
          <p:cNvSpPr>
            <a:spLocks noGrp="1"/>
          </p:cNvSpPr>
          <p:nvPr>
            <p:ph type="title"/>
          </p:nvPr>
        </p:nvSpPr>
        <p:spPr>
          <a:xfrm>
            <a:off x="804672" y="2053641"/>
            <a:ext cx="3669161" cy="2760098"/>
          </a:xfrm>
        </p:spPr>
        <p:txBody>
          <a:bodyPr>
            <a:normAutofit/>
          </a:bodyPr>
          <a:lstStyle/>
          <a:p>
            <a:r>
              <a:rPr lang="en-US" sz="4000">
                <a:solidFill>
                  <a:schemeClr val="tx2"/>
                </a:solidFill>
              </a:rPr>
              <a:t>Family at Risk? ‘Plan Ahead’ Resources</a:t>
            </a:r>
          </a:p>
        </p:txBody>
      </p:sp>
      <p:sp>
        <p:nvSpPr>
          <p:cNvPr id="3" name="Content Placeholder 2">
            <a:extLst>
              <a:ext uri="{FF2B5EF4-FFF2-40B4-BE49-F238E27FC236}">
                <a16:creationId xmlns:a16="http://schemas.microsoft.com/office/drawing/2014/main" id="{2D798C14-2A07-B73C-9BE2-EB848033636D}"/>
              </a:ext>
            </a:extLst>
          </p:cNvPr>
          <p:cNvSpPr>
            <a:spLocks noGrp="1"/>
          </p:cNvSpPr>
          <p:nvPr>
            <p:ph idx="1"/>
          </p:nvPr>
        </p:nvSpPr>
        <p:spPr>
          <a:xfrm>
            <a:off x="6090574" y="801866"/>
            <a:ext cx="5306084" cy="5230634"/>
          </a:xfrm>
          <a:noFill/>
          <a:ln>
            <a:noFill/>
          </a:ln>
        </p:spPr>
        <p:txBody>
          <a:bodyPr anchor="ctr">
            <a:normAutofit/>
          </a:bodyPr>
          <a:lstStyle/>
          <a:p>
            <a:r>
              <a:rPr lang="en-US" sz="2000">
                <a:solidFill>
                  <a:schemeClr val="tx2"/>
                </a:solidFill>
              </a:rPr>
              <a:t>Massachusetts Planning for those with uncertain immigration status:</a:t>
            </a:r>
          </a:p>
          <a:p>
            <a:pPr lvl="1"/>
            <a:r>
              <a:rPr lang="en-US" sz="2000">
                <a:hlinkClick r:id="rId2"/>
              </a:rPr>
              <a:t>Emergency Planning Guide for Parents with Uncertain Immigration Status </a:t>
            </a:r>
            <a:r>
              <a:rPr lang="en-US" sz="2000" i="1"/>
              <a:t>(a</a:t>
            </a:r>
            <a:r>
              <a:rPr lang="en-US" sz="2000" i="1">
                <a:ea typeface="+mn-lt"/>
                <a:cs typeface="+mn-lt"/>
              </a:rPr>
              <a:t>vailable in </a:t>
            </a:r>
            <a:r>
              <a:rPr lang="en-US" sz="2000" i="1">
                <a:hlinkClick r:id="rId3"/>
              </a:rPr>
              <a:t>Spanish</a:t>
            </a:r>
            <a:r>
              <a:rPr lang="en-US" sz="2000" i="1"/>
              <a:t>, </a:t>
            </a:r>
            <a:r>
              <a:rPr lang="en-US" sz="2000" i="1">
                <a:hlinkClick r:id="rId4"/>
              </a:rPr>
              <a:t>Portuguese</a:t>
            </a:r>
            <a:r>
              <a:rPr lang="en-US" sz="2000" i="1"/>
              <a:t>, </a:t>
            </a:r>
            <a:r>
              <a:rPr lang="en-US" sz="2000" i="1">
                <a:hlinkClick r:id="rId5"/>
              </a:rPr>
              <a:t>Haitian Creole</a:t>
            </a:r>
            <a:r>
              <a:rPr lang="en-US" sz="2000" i="1"/>
              <a:t>, </a:t>
            </a:r>
            <a:r>
              <a:rPr lang="en-US" sz="2000" i="1">
                <a:hlinkClick r:id="rId6"/>
              </a:rPr>
              <a:t>Simplified Chinese</a:t>
            </a:r>
            <a:r>
              <a:rPr lang="en-US" sz="2000" i="1"/>
              <a:t>)</a:t>
            </a:r>
          </a:p>
          <a:p>
            <a:pPr lvl="1"/>
            <a:r>
              <a:rPr lang="en-US" sz="2000">
                <a:hlinkClick r:id="rId7"/>
              </a:rPr>
              <a:t>Emergency Planning Fact Sheet for Parents with Uncertain Immigration Status </a:t>
            </a:r>
            <a:r>
              <a:rPr lang="en-US" sz="2000" i="1"/>
              <a:t>(</a:t>
            </a:r>
            <a:r>
              <a:rPr lang="en-US" sz="2000" i="1">
                <a:ea typeface="+mn-lt"/>
                <a:cs typeface="+mn-lt"/>
              </a:rPr>
              <a:t>available in </a:t>
            </a:r>
            <a:r>
              <a:rPr lang="en-US" sz="2000" i="1">
                <a:hlinkClick r:id="rId8"/>
              </a:rPr>
              <a:t>Spanish</a:t>
            </a:r>
            <a:r>
              <a:rPr lang="en-US" sz="2000" i="1"/>
              <a:t>, </a:t>
            </a:r>
            <a:r>
              <a:rPr lang="en-US" sz="2000" i="1">
                <a:hlinkClick r:id="rId9"/>
              </a:rPr>
              <a:t>Portuguese</a:t>
            </a:r>
            <a:r>
              <a:rPr lang="en-US" sz="2000" i="1"/>
              <a:t>, </a:t>
            </a:r>
            <a:r>
              <a:rPr lang="en-US" sz="2000" i="1">
                <a:hlinkClick r:id="rId10"/>
              </a:rPr>
              <a:t>Haitian Creole</a:t>
            </a:r>
            <a:r>
              <a:rPr lang="en-US" sz="2000" i="1"/>
              <a:t>, </a:t>
            </a:r>
            <a:r>
              <a:rPr lang="en-US" sz="2000" i="1">
                <a:hlinkClick r:id="rId11"/>
              </a:rPr>
              <a:t>Simplified Chinese</a:t>
            </a:r>
            <a:r>
              <a:rPr lang="en-US" sz="2000" i="1"/>
              <a:t>)</a:t>
            </a:r>
          </a:p>
          <a:p>
            <a:r>
              <a:rPr lang="en-US" sz="2000">
                <a:solidFill>
                  <a:schemeClr val="tx2"/>
                </a:solidFill>
              </a:rPr>
              <a:t>Boston Medical Center Family Plan:</a:t>
            </a:r>
          </a:p>
          <a:p>
            <a:pPr lvl="1"/>
            <a:r>
              <a:rPr lang="en-US" sz="2000">
                <a:solidFill>
                  <a:schemeClr val="tx2"/>
                </a:solidFill>
                <a:hlinkClick r:id="rId12"/>
              </a:rPr>
              <a:t>https://www.bmc.org/sites/default/files/Patient_Care/Specialty_Care/IRHP/family_preparedness_plan.pdf</a:t>
            </a:r>
            <a:endParaRPr lang="en-US" sz="2000">
              <a:solidFill>
                <a:schemeClr val="tx2"/>
              </a:solidFill>
            </a:endParaRPr>
          </a:p>
        </p:txBody>
      </p:sp>
      <p:sp>
        <p:nvSpPr>
          <p:cNvPr id="5" name="TextBox 4">
            <a:extLst>
              <a:ext uri="{FF2B5EF4-FFF2-40B4-BE49-F238E27FC236}">
                <a16:creationId xmlns:a16="http://schemas.microsoft.com/office/drawing/2014/main" id="{1FBA3E08-BB29-0D61-5413-3A6C9196F4F0}"/>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648105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ABF45-8BB4-D4D9-82D7-B02449B6E4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05A8AD-1820-C44C-3F81-9293D1AF763C}"/>
              </a:ext>
            </a:extLst>
          </p:cNvPr>
          <p:cNvSpPr>
            <a:spLocks noGrp="1"/>
          </p:cNvSpPr>
          <p:nvPr>
            <p:ph type="title"/>
          </p:nvPr>
        </p:nvSpPr>
        <p:spPr>
          <a:xfrm>
            <a:off x="554736" y="790647"/>
            <a:ext cx="10602418" cy="731520"/>
          </a:xfrm>
        </p:spPr>
        <p:txBody>
          <a:bodyPr/>
          <a:lstStyle/>
          <a:p>
            <a:pPr algn="ctr"/>
            <a:r>
              <a:rPr lang="en-US" sz="3600" b="0">
                <a:solidFill>
                  <a:srgbClr val="FFFFFF"/>
                </a:solidFill>
                <a:latin typeface="Calibri"/>
                <a:ea typeface="Calibri"/>
                <a:cs typeface="Calibri"/>
              </a:rPr>
              <a:t>Plan Ahead</a:t>
            </a:r>
            <a:endParaRPr lang="en-US" sz="36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0E185B8F-7992-3C1C-D1A5-E5FC165C8FFB}"/>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pic>
        <p:nvPicPr>
          <p:cNvPr id="3" name="Picture 2" descr="Stack of files">
            <a:extLst>
              <a:ext uri="{FF2B5EF4-FFF2-40B4-BE49-F238E27FC236}">
                <a16:creationId xmlns:a16="http://schemas.microsoft.com/office/drawing/2014/main" id="{CD5101BF-B08C-5F96-E0AB-3D8202B4BFA8}"/>
              </a:ext>
            </a:extLst>
          </p:cNvPr>
          <p:cNvPicPr>
            <a:picLocks noChangeAspect="1"/>
          </p:cNvPicPr>
          <p:nvPr/>
        </p:nvPicPr>
        <p:blipFill>
          <a:blip r:embed="rId2" cstate="screen">
            <a:extLst>
              <a:ext uri="{28A0092B-C50C-407E-A947-70E740481C1C}">
                <a14:useLocalDpi xmlns:a14="http://schemas.microsoft.com/office/drawing/2010/main"/>
              </a:ext>
            </a:extLst>
          </a:blip>
          <a:srcRect t="-1983" r="-514"/>
          <a:stretch/>
        </p:blipFill>
        <p:spPr>
          <a:xfrm>
            <a:off x="0" y="1377950"/>
            <a:ext cx="12300857" cy="5472336"/>
          </a:xfrm>
          <a:prstGeom prst="rect">
            <a:avLst/>
          </a:prstGeom>
        </p:spPr>
      </p:pic>
      <p:sp>
        <p:nvSpPr>
          <p:cNvPr id="4" name="Rectangle: Rounded Corners 3">
            <a:extLst>
              <a:ext uri="{FF2B5EF4-FFF2-40B4-BE49-F238E27FC236}">
                <a16:creationId xmlns:a16="http://schemas.microsoft.com/office/drawing/2014/main" id="{DE7F6B9A-C039-DEDD-694E-8935E11B6184}"/>
              </a:ext>
              <a:ext uri="{C183D7F6-B498-43B3-948B-1728B52AA6E4}">
                <adec:decorative xmlns:adec="http://schemas.microsoft.com/office/drawing/2017/decorative" val="1"/>
              </a:ext>
            </a:extLst>
          </p:cNvPr>
          <p:cNvSpPr/>
          <p:nvPr/>
        </p:nvSpPr>
        <p:spPr>
          <a:xfrm>
            <a:off x="324136" y="1637215"/>
            <a:ext cx="11652583" cy="4742210"/>
          </a:xfrm>
          <a:prstGeom prst="roundRect">
            <a:avLst/>
          </a:prstGeom>
          <a:solidFill>
            <a:schemeClr val="tx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 name="Content Placeholder 2">
            <a:extLst>
              <a:ext uri="{FF2B5EF4-FFF2-40B4-BE49-F238E27FC236}">
                <a16:creationId xmlns:a16="http://schemas.microsoft.com/office/drawing/2014/main" id="{EC4D6443-26E5-6C50-C0C0-02605BD2EA4A}"/>
              </a:ext>
            </a:extLst>
          </p:cNvPr>
          <p:cNvSpPr>
            <a:spLocks noGrp="1"/>
          </p:cNvSpPr>
          <p:nvPr>
            <p:ph sz="quarter" idx="11"/>
          </p:nvPr>
        </p:nvSpPr>
        <p:spPr>
          <a:xfrm>
            <a:off x="645147" y="1833245"/>
            <a:ext cx="11535836" cy="861774"/>
          </a:xfrm>
        </p:spPr>
        <p:txBody>
          <a:bodyPr vert="horz" wrap="square" lIns="0" tIns="0" rIns="0" bIns="0" rtlCol="0" anchor="t">
            <a:spAutoFit/>
          </a:bodyPr>
          <a:lstStyle/>
          <a:p>
            <a:pPr marL="0" indent="0">
              <a:buNone/>
            </a:pPr>
            <a:r>
              <a:rPr lang="en-US" sz="2800">
                <a:cs typeface="Arial"/>
              </a:rPr>
              <a:t>Schools can try to </a:t>
            </a:r>
            <a:r>
              <a:rPr lang="en-US" sz="2800" b="1">
                <a:cs typeface="Arial"/>
              </a:rPr>
              <a:t>plan ahead </a:t>
            </a:r>
            <a:r>
              <a:rPr lang="en-US" sz="2800">
                <a:cs typeface="Arial"/>
              </a:rPr>
              <a:t>to avoid situations where no chain of custody in place:</a:t>
            </a:r>
            <a:endParaRPr lang="en-US" sz="2800"/>
          </a:p>
        </p:txBody>
      </p:sp>
      <p:pic>
        <p:nvPicPr>
          <p:cNvPr id="7" name="Graphic 6">
            <a:extLst>
              <a:ext uri="{FF2B5EF4-FFF2-40B4-BE49-F238E27FC236}">
                <a16:creationId xmlns:a16="http://schemas.microsoft.com/office/drawing/2014/main" id="{55CD5BA1-31E4-64C0-8648-EEEE4C8AC51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0190" y="2781752"/>
            <a:ext cx="914400" cy="914400"/>
          </a:xfrm>
          <a:prstGeom prst="rect">
            <a:avLst/>
          </a:prstGeom>
        </p:spPr>
      </p:pic>
      <p:sp>
        <p:nvSpPr>
          <p:cNvPr id="9" name="Content Placeholder 2">
            <a:extLst>
              <a:ext uri="{FF2B5EF4-FFF2-40B4-BE49-F238E27FC236}">
                <a16:creationId xmlns:a16="http://schemas.microsoft.com/office/drawing/2014/main" id="{F41F13ED-5CAA-B794-7F08-10A14CDECBB1}"/>
              </a:ext>
            </a:extLst>
          </p:cNvPr>
          <p:cNvSpPr txBox="1">
            <a:spLocks/>
          </p:cNvSpPr>
          <p:nvPr/>
        </p:nvSpPr>
        <p:spPr>
          <a:xfrm>
            <a:off x="2184590" y="2789266"/>
            <a:ext cx="9351246" cy="861774"/>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sz="2800">
                <a:cs typeface="Arial"/>
              </a:rPr>
              <a:t>Partner with Family Resource Clinics to host clinics for families to prepare caregiver affidavits (requires a notary)</a:t>
            </a:r>
            <a:endParaRPr lang="en-US" sz="2800"/>
          </a:p>
        </p:txBody>
      </p:sp>
    </p:spTree>
    <p:extLst>
      <p:ext uri="{BB962C8B-B14F-4D97-AF65-F5344CB8AC3E}">
        <p14:creationId xmlns:p14="http://schemas.microsoft.com/office/powerpoint/2010/main" val="19382297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12CD0-789F-65C7-5F5E-A7E7FD94B887}"/>
              </a:ext>
            </a:extLst>
          </p:cNvPr>
          <p:cNvSpPr>
            <a:spLocks noGrp="1"/>
          </p:cNvSpPr>
          <p:nvPr>
            <p:ph type="title"/>
          </p:nvPr>
        </p:nvSpPr>
        <p:spPr/>
        <p:txBody>
          <a:bodyPr/>
          <a:lstStyle/>
          <a:p>
            <a:r>
              <a:rPr lang="en-US"/>
              <a:t>Other Steps for Schools to Take</a:t>
            </a:r>
          </a:p>
        </p:txBody>
      </p:sp>
      <p:sp>
        <p:nvSpPr>
          <p:cNvPr id="3" name="Content Placeholder 2">
            <a:extLst>
              <a:ext uri="{FF2B5EF4-FFF2-40B4-BE49-F238E27FC236}">
                <a16:creationId xmlns:a16="http://schemas.microsoft.com/office/drawing/2014/main" id="{ACD4E35A-366B-6613-59F2-8E63BB6AE9E8}"/>
              </a:ext>
            </a:extLst>
          </p:cNvPr>
          <p:cNvSpPr>
            <a:spLocks noGrp="1"/>
          </p:cNvSpPr>
          <p:nvPr>
            <p:ph sz="quarter" idx="11"/>
          </p:nvPr>
        </p:nvSpPr>
        <p:spPr>
          <a:xfrm>
            <a:off x="554036" y="1514475"/>
            <a:ext cx="11173675" cy="5893921"/>
          </a:xfrm>
        </p:spPr>
        <p:txBody>
          <a:bodyPr/>
          <a:lstStyle/>
          <a:p>
            <a:r>
              <a:rPr lang="en-US" b="1"/>
              <a:t>When planning school events: </a:t>
            </a:r>
          </a:p>
          <a:p>
            <a:pPr marL="571500" lvl="1" indent="-342900">
              <a:spcAft>
                <a:spcPts val="0"/>
              </a:spcAft>
              <a:buFont typeface="Arial" panose="020B0604020202020204" pitchFamily="34" charset="0"/>
              <a:buChar char="•"/>
            </a:pPr>
            <a:r>
              <a:rPr lang="en-US">
                <a:effectLst/>
                <a:latin typeface="Aptos" panose="020B0004020202020204" pitchFamily="34" charset="0"/>
                <a:ea typeface="Times New Roman" panose="02020603050405020304" pitchFamily="18" charset="0"/>
                <a:cs typeface="Aptos" panose="020B0004020202020204" pitchFamily="34" charset="0"/>
              </a:rPr>
              <a:t>Consider holding events inside or in demarked private spaces open only to students, staff, and students’ families</a:t>
            </a:r>
            <a:endParaRPr lang="en-US">
              <a:effectLst/>
              <a:latin typeface="Aptos" panose="020B0004020202020204" pitchFamily="34" charset="0"/>
              <a:ea typeface="Aptos" panose="020B0004020202020204" pitchFamily="34" charset="0"/>
              <a:cs typeface="Aptos" panose="020B0004020202020204" pitchFamily="34" charset="0"/>
            </a:endParaRPr>
          </a:p>
          <a:p>
            <a:pPr marL="571500" lvl="1" indent="-342900">
              <a:spcAft>
                <a:spcPts val="0"/>
              </a:spcAft>
              <a:buFont typeface="Arial" panose="020B0604020202020204" pitchFamily="34" charset="0"/>
              <a:buChar char="•"/>
            </a:pPr>
            <a:r>
              <a:rPr lang="en-US">
                <a:effectLst/>
                <a:latin typeface="Aptos" panose="020B0004020202020204" pitchFamily="34" charset="0"/>
                <a:ea typeface="Times New Roman" panose="02020603050405020304" pitchFamily="18" charset="0"/>
                <a:cs typeface="Aptos" panose="020B0004020202020204" pitchFamily="34" charset="0"/>
              </a:rPr>
              <a:t>Post signage indicating the event is a “private event” for students and their families</a:t>
            </a:r>
            <a:endParaRPr lang="en-US">
              <a:effectLst/>
              <a:latin typeface="Aptos" panose="020B0004020202020204" pitchFamily="34" charset="0"/>
              <a:ea typeface="Aptos" panose="020B0004020202020204" pitchFamily="34" charset="0"/>
              <a:cs typeface="Aptos" panose="020B0004020202020204" pitchFamily="34" charset="0"/>
            </a:endParaRPr>
          </a:p>
          <a:p>
            <a:pPr marL="571500" lvl="1" indent="-342900">
              <a:spcAft>
                <a:spcPts val="0"/>
              </a:spcAft>
              <a:buFont typeface="Arial" panose="020B0604020202020204" pitchFamily="34" charset="0"/>
              <a:buChar char="•"/>
            </a:pPr>
            <a:r>
              <a:rPr lang="en-US">
                <a:effectLst/>
                <a:latin typeface="Aptos" panose="020B0004020202020204" pitchFamily="34" charset="0"/>
                <a:ea typeface="Times New Roman" panose="02020603050405020304" pitchFamily="18" charset="0"/>
                <a:cs typeface="Aptos" panose="020B0004020202020204" pitchFamily="34" charset="0"/>
              </a:rPr>
              <a:t>Consider a virtual streaming option for families who may wish to attend virtually</a:t>
            </a:r>
          </a:p>
          <a:p>
            <a:pPr marL="571500" lvl="1" indent="-342900">
              <a:spcAft>
                <a:spcPts val="0"/>
              </a:spcAft>
              <a:buFont typeface="Arial" panose="020B0604020202020204" pitchFamily="34" charset="0"/>
              <a:buChar char="•"/>
            </a:pPr>
            <a:endParaRPr lang="en-US">
              <a:latin typeface="Aptos" panose="020B0004020202020204" pitchFamily="34" charset="0"/>
              <a:ea typeface="Times New Roman" panose="02020603050405020304" pitchFamily="18" charset="0"/>
              <a:cs typeface="Aptos" panose="020B0004020202020204" pitchFamily="34" charset="0"/>
            </a:endParaRPr>
          </a:p>
          <a:p>
            <a:pPr marL="228600" lvl="1" indent="0">
              <a:spcAft>
                <a:spcPts val="0"/>
              </a:spcAft>
              <a:buNone/>
            </a:pPr>
            <a:r>
              <a:rPr lang="en-US" b="1"/>
              <a:t>Student Directory: </a:t>
            </a:r>
            <a:r>
              <a:rPr lang="en-US" b="1">
                <a:solidFill>
                  <a:srgbClr val="FF0000"/>
                </a:solidFill>
              </a:rPr>
              <a:t> </a:t>
            </a:r>
          </a:p>
          <a:p>
            <a:pPr marL="514350" lvl="1" indent="-285750">
              <a:spcAft>
                <a:spcPts val="0"/>
              </a:spcAft>
              <a:buFont typeface="Arial" panose="020B0604020202020204" pitchFamily="34" charset="0"/>
              <a:buChar char="•"/>
            </a:pPr>
            <a:r>
              <a:rPr lang="en-US">
                <a:latin typeface="Aptos" panose="020B0004020202020204" pitchFamily="34" charset="0"/>
              </a:rPr>
              <a:t>Provide opportunities for parents to opt out of including directory information. Schools may also limit what information is included in the directory, and limit disclosure of information to their school community and not to third parties.</a:t>
            </a:r>
            <a:endParaRPr lang="en-US"/>
          </a:p>
          <a:p>
            <a:pPr marL="228600" lvl="1" indent="0">
              <a:spcAft>
                <a:spcPts val="0"/>
              </a:spcAft>
              <a:buNone/>
            </a:pPr>
            <a:endParaRPr lang="en-US" b="1"/>
          </a:p>
          <a:p>
            <a:pPr marL="228600" lvl="1" indent="0">
              <a:spcAft>
                <a:spcPts val="0"/>
              </a:spcAft>
              <a:buNone/>
            </a:pPr>
            <a:r>
              <a:rPr lang="en-US" b="1"/>
              <a:t>Establish clear protocols re: ICE contact with school staff:</a:t>
            </a:r>
          </a:p>
          <a:p>
            <a:pPr marL="514350" lvl="1" indent="-285750">
              <a:spcAft>
                <a:spcPts val="0"/>
              </a:spcAft>
              <a:buFont typeface="Arial" panose="020B0604020202020204" pitchFamily="34" charset="0"/>
              <a:buChar char="•"/>
            </a:pPr>
            <a:r>
              <a:rPr lang="en-US">
                <a:latin typeface="Aptos" panose="020B0004020202020204" pitchFamily="34" charset="0"/>
              </a:rPr>
              <a:t>Designate an on-call contact at central office for school staff to call in the event of ICE contact with school</a:t>
            </a:r>
          </a:p>
          <a:p>
            <a:pPr marL="514350" lvl="1" indent="-285750">
              <a:spcAft>
                <a:spcPts val="0"/>
              </a:spcAft>
              <a:buFont typeface="Arial" panose="020B0604020202020204" pitchFamily="34" charset="0"/>
              <a:buChar char="•"/>
            </a:pPr>
            <a:r>
              <a:rPr lang="en-US">
                <a:latin typeface="Aptos" panose="020B0004020202020204" pitchFamily="34" charset="0"/>
              </a:rPr>
              <a:t>Superintendent or designee should consult with the district’s legal counsel before proceeding</a:t>
            </a:r>
          </a:p>
          <a:p>
            <a:pPr marL="514350" lvl="1" indent="-285750">
              <a:spcAft>
                <a:spcPts val="0"/>
              </a:spcAft>
              <a:buFont typeface="Arial" panose="020B0604020202020204" pitchFamily="34" charset="0"/>
              <a:buChar char="•"/>
            </a:pPr>
            <a:r>
              <a:rPr lang="en-US">
                <a:latin typeface="Aptos" panose="020B0004020202020204" pitchFamily="34" charset="0"/>
              </a:rPr>
              <a:t>Immediately inform student’s parent/guardian </a:t>
            </a:r>
          </a:p>
          <a:p>
            <a:pPr marL="514350" lvl="1" indent="-285750">
              <a:spcAft>
                <a:spcPts val="0"/>
              </a:spcAft>
              <a:buFont typeface="Arial" panose="020B0604020202020204" pitchFamily="34" charset="0"/>
              <a:buChar char="•"/>
            </a:pPr>
            <a:r>
              <a:rPr lang="en-US">
                <a:latin typeface="Aptos" panose="020B0004020202020204" pitchFamily="34" charset="0"/>
              </a:rPr>
              <a:t>With advice of counsel, review documents provided by ICE to determine if it’s an administrative warrant or a judicial warrant, order, or subpoena</a:t>
            </a:r>
            <a:endParaRPr lang="en-US"/>
          </a:p>
          <a:p>
            <a:pPr marL="571500" lvl="1" indent="-342900">
              <a:spcAft>
                <a:spcPts val="0"/>
              </a:spcAft>
              <a:buFont typeface="Arial" panose="020B0604020202020204" pitchFamily="34" charset="0"/>
              <a:buChar char="•"/>
            </a:pPr>
            <a:endParaRPr lang="en-US">
              <a:latin typeface="Aptos" panose="020B0004020202020204" pitchFamily="34" charset="0"/>
              <a:ea typeface="Times New Roman" panose="02020603050405020304" pitchFamily="18" charset="0"/>
              <a:cs typeface="Aptos" panose="020B0004020202020204" pitchFamily="34" charset="0"/>
            </a:endParaRPr>
          </a:p>
          <a:p>
            <a:pPr marL="228600" lvl="1" indent="0">
              <a:spcAft>
                <a:spcPts val="0"/>
              </a:spcAft>
              <a:buNone/>
            </a:pPr>
            <a:endParaRPr lang="en-US">
              <a:latin typeface="Aptos" panose="020B0004020202020204" pitchFamily="34" charset="0"/>
              <a:ea typeface="Aptos" panose="020B0004020202020204" pitchFamily="34" charset="0"/>
              <a:cs typeface="Aptos" panose="020B0004020202020204" pitchFamily="34" charset="0"/>
            </a:endParaRPr>
          </a:p>
          <a:p>
            <a:pPr marL="228600" lvl="1" indent="0">
              <a:spcAft>
                <a:spcPts val="0"/>
              </a:spcAft>
              <a:buNone/>
            </a:pPr>
            <a:endParaRPr lang="en-US">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5" name="Text Placeholder 7">
            <a:extLst>
              <a:ext uri="{FF2B5EF4-FFF2-40B4-BE49-F238E27FC236}">
                <a16:creationId xmlns:a16="http://schemas.microsoft.com/office/drawing/2014/main" id="{E70C23E1-384D-D578-75C1-53413EEB0863}"/>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Tree>
    <p:extLst>
      <p:ext uri="{BB962C8B-B14F-4D97-AF65-F5344CB8AC3E}">
        <p14:creationId xmlns:p14="http://schemas.microsoft.com/office/powerpoint/2010/main" val="31012832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A173F-3D62-36DA-A03B-CCF61818085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C53384C-6C10-2787-0566-EB8C95494934}"/>
              </a:ext>
            </a:extLst>
          </p:cNvPr>
          <p:cNvSpPr>
            <a:spLocks noGrp="1"/>
          </p:cNvSpPr>
          <p:nvPr>
            <p:ph type="title"/>
          </p:nvPr>
        </p:nvSpPr>
        <p:spPr/>
        <p:txBody>
          <a:bodyPr wrap="square" anchor="b">
            <a:normAutofit/>
          </a:bodyPr>
          <a:lstStyle/>
          <a:p>
            <a:r>
              <a:rPr lang="en-US"/>
              <a:t>Scenarios + Considerations</a:t>
            </a:r>
          </a:p>
        </p:txBody>
      </p:sp>
      <p:sp>
        <p:nvSpPr>
          <p:cNvPr id="2" name="Subtitle 1">
            <a:extLst>
              <a:ext uri="{FF2B5EF4-FFF2-40B4-BE49-F238E27FC236}">
                <a16:creationId xmlns:a16="http://schemas.microsoft.com/office/drawing/2014/main" id="{6EC1BC6F-4DC9-585C-837F-E9F86225B81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817560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784A8-4E9F-49A3-7319-64210DBC6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24FE44-DDD1-DFEF-CE17-656C603A741A}"/>
              </a:ext>
            </a:extLst>
          </p:cNvPr>
          <p:cNvSpPr>
            <a:spLocks noGrp="1"/>
          </p:cNvSpPr>
          <p:nvPr>
            <p:ph type="title"/>
          </p:nvPr>
        </p:nvSpPr>
        <p:spPr>
          <a:xfrm>
            <a:off x="554736" y="790647"/>
            <a:ext cx="10602418" cy="731520"/>
          </a:xfrm>
        </p:spPr>
        <p:txBody>
          <a:bodyPr/>
          <a:lstStyle/>
          <a:p>
            <a:pPr algn="ctr"/>
            <a:r>
              <a:rPr lang="en-US" sz="3600" b="0">
                <a:solidFill>
                  <a:srgbClr val="FFFFFF"/>
                </a:solidFill>
                <a:latin typeface="Calibri"/>
                <a:ea typeface="Calibri"/>
                <a:cs typeface="Calibri"/>
              </a:rPr>
              <a:t>Scenario #1: On School Grounds</a:t>
            </a:r>
            <a:endParaRPr lang="en-US" sz="36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74BD8004-D5B7-20BB-126E-8740F9691191}"/>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12" name="Content Placeholder 2">
            <a:extLst>
              <a:ext uri="{FF2B5EF4-FFF2-40B4-BE49-F238E27FC236}">
                <a16:creationId xmlns:a16="http://schemas.microsoft.com/office/drawing/2014/main" id="{52580AD8-5719-545E-E9B0-35BB08B3CA83}"/>
              </a:ext>
            </a:extLst>
          </p:cNvPr>
          <p:cNvSpPr>
            <a:spLocks noGrp="1"/>
          </p:cNvSpPr>
          <p:nvPr>
            <p:ph sz="quarter" idx="11"/>
          </p:nvPr>
        </p:nvSpPr>
        <p:spPr>
          <a:xfrm>
            <a:off x="554038" y="1687195"/>
            <a:ext cx="11082528" cy="4661276"/>
          </a:xfrm>
        </p:spPr>
        <p:txBody>
          <a:bodyPr vert="horz" wrap="square" lIns="0" tIns="0" rIns="0" bIns="0" rtlCol="0" anchor="t">
            <a:spAutoFit/>
          </a:bodyPr>
          <a:lstStyle/>
          <a:p>
            <a:pPr marL="114300" lvl="1" indent="0" algn="ctr">
              <a:spcBef>
                <a:spcPct val="20000"/>
              </a:spcBef>
              <a:spcAft>
                <a:spcPts val="0"/>
              </a:spcAft>
              <a:buNone/>
            </a:pPr>
            <a:r>
              <a:rPr lang="en-US" sz="3600"/>
              <a:t>On a day when school is in session, employees of a landscaping company subcontracted by the district are working outside on the campus of the district’s public high school building. ICE arrives on campus, armed, and arrests several of the landscapers.</a:t>
            </a:r>
            <a:endParaRPr lang="en-US" sz="3200">
              <a:solidFill>
                <a:schemeClr val="accent1">
                  <a:lumMod val="60000"/>
                  <a:lumOff val="40000"/>
                </a:schemeClr>
              </a:solidFill>
              <a:latin typeface="Calibri"/>
              <a:ea typeface="Calibri"/>
              <a:cs typeface="Calibri"/>
            </a:endParaRPr>
          </a:p>
          <a:p>
            <a:pPr lvl="1" indent="-342900">
              <a:spcBef>
                <a:spcPct val="20000"/>
              </a:spcBef>
              <a:spcAft>
                <a:spcPts val="0"/>
              </a:spcAft>
              <a:buFont typeface="Arial,Sans-Serif" panose="05000000000000000000" pitchFamily="2" charset="2"/>
              <a:buChar char="•"/>
            </a:pPr>
            <a:endParaRPr lang="en-US" sz="1200">
              <a:solidFill>
                <a:srgbClr val="000000"/>
              </a:solidFill>
              <a:latin typeface="Calibri"/>
              <a:ea typeface="Calibri"/>
              <a:cs typeface="Calibri"/>
            </a:endParaRPr>
          </a:p>
          <a:p>
            <a:pPr marL="231775" lvl="1" indent="0" algn="ctr">
              <a:spcBef>
                <a:spcPct val="20000"/>
              </a:spcBef>
              <a:spcAft>
                <a:spcPts val="0"/>
              </a:spcAft>
              <a:buNone/>
            </a:pPr>
            <a:r>
              <a:rPr lang="en-US" sz="4000" b="1">
                <a:solidFill>
                  <a:schemeClr val="accent1">
                    <a:lumMod val="60000"/>
                    <a:lumOff val="40000"/>
                  </a:schemeClr>
                </a:solidFill>
                <a:latin typeface="Calibri"/>
                <a:ea typeface="Calibri"/>
                <a:cs typeface="Calibri"/>
              </a:rPr>
              <a:t>What might school staff consider when faced with this situation?</a:t>
            </a:r>
            <a:endParaRPr lang="en-US" sz="3600" b="1">
              <a:solidFill>
                <a:schemeClr val="accent1">
                  <a:lumMod val="60000"/>
                  <a:lumOff val="40000"/>
                </a:schemeClr>
              </a:solidFill>
              <a:latin typeface="Calibri"/>
              <a:ea typeface="Calibri"/>
              <a:cs typeface="Calibri"/>
            </a:endParaRPr>
          </a:p>
          <a:p>
            <a:endParaRPr lang="en-US"/>
          </a:p>
        </p:txBody>
      </p:sp>
    </p:spTree>
    <p:extLst>
      <p:ext uri="{BB962C8B-B14F-4D97-AF65-F5344CB8AC3E}">
        <p14:creationId xmlns:p14="http://schemas.microsoft.com/office/powerpoint/2010/main" val="1406033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F7AE2-F0B1-B086-1A86-B5BF6C2B60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A22761-C756-41F1-389E-5474563A0E99}"/>
              </a:ext>
            </a:extLst>
          </p:cNvPr>
          <p:cNvSpPr>
            <a:spLocks noGrp="1"/>
          </p:cNvSpPr>
          <p:nvPr>
            <p:ph type="title"/>
          </p:nvPr>
        </p:nvSpPr>
        <p:spPr>
          <a:xfrm>
            <a:off x="554736" y="790647"/>
            <a:ext cx="10602418" cy="731520"/>
          </a:xfrm>
        </p:spPr>
        <p:txBody>
          <a:bodyPr/>
          <a:lstStyle/>
          <a:p>
            <a:pPr algn="ctr"/>
            <a:r>
              <a:rPr lang="en-US" sz="3600" b="0" dirty="0">
                <a:solidFill>
                  <a:srgbClr val="FFFFFF"/>
                </a:solidFill>
                <a:latin typeface="Calibri"/>
                <a:ea typeface="Calibri"/>
                <a:cs typeface="Calibri"/>
              </a:rPr>
              <a:t>Scenario #1: On School Grounds  </a:t>
            </a:r>
            <a:endParaRPr lang="en-US" sz="3600" dirty="0"/>
          </a:p>
          <a:p>
            <a:pPr algn="ctr"/>
            <a:endParaRPr lang="en-US" sz="3000" b="0" dirty="0">
              <a:solidFill>
                <a:srgbClr val="FFFFFF"/>
              </a:solidFill>
              <a:latin typeface="Calibri"/>
              <a:ea typeface="Calibri"/>
              <a:cs typeface="Calibri"/>
            </a:endParaRPr>
          </a:p>
          <a:p>
            <a:endParaRPr lang="en-US" dirty="0">
              <a:cs typeface="Arial"/>
            </a:endParaRPr>
          </a:p>
        </p:txBody>
      </p:sp>
      <p:sp>
        <p:nvSpPr>
          <p:cNvPr id="6" name="Text Placeholder 5">
            <a:extLst>
              <a:ext uri="{FF2B5EF4-FFF2-40B4-BE49-F238E27FC236}">
                <a16:creationId xmlns:a16="http://schemas.microsoft.com/office/drawing/2014/main" id="{73C3BBCD-0666-802E-E1DD-FCED5B0CA5AA}"/>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graphicFrame>
        <p:nvGraphicFramePr>
          <p:cNvPr id="11" name="Content Placeholder 4">
            <a:extLst>
              <a:ext uri="{FF2B5EF4-FFF2-40B4-BE49-F238E27FC236}">
                <a16:creationId xmlns:a16="http://schemas.microsoft.com/office/drawing/2014/main" id="{08E81743-FF8C-5213-F733-6340405B5A46}"/>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565012020"/>
              </p:ext>
            </p:extLst>
          </p:nvPr>
        </p:nvGraphicFramePr>
        <p:xfrm>
          <a:off x="837406" y="1509958"/>
          <a:ext cx="10515600" cy="41411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CF7AC88D-7ECA-42D7-EFF2-3D731E9B36CD}"/>
              </a:ext>
            </a:extLst>
          </p:cNvPr>
          <p:cNvSpPr/>
          <p:nvPr/>
        </p:nvSpPr>
        <p:spPr>
          <a:xfrm>
            <a:off x="837406" y="5799818"/>
            <a:ext cx="10515600" cy="694897"/>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algn="ctr"/>
            <a:r>
              <a:rPr lang="en-US" sz="3200" b="1">
                <a:solidFill>
                  <a:srgbClr val="FF0000"/>
                </a:solidFill>
                <a:latin typeface="Calibri"/>
                <a:ea typeface="Calibri"/>
                <a:cs typeface="Calibri"/>
              </a:rPr>
              <a:t>It is illegal to obstruct, impede, or assault an ICE agent.</a:t>
            </a:r>
            <a:r>
              <a:rPr lang="en-US" sz="3200" b="1">
                <a:solidFill>
                  <a:srgbClr val="FF0000"/>
                </a:solidFill>
                <a:latin typeface="Calibri" panose="020F0502020204030204" pitchFamily="34" charset="0"/>
                <a:ea typeface="Calibri" panose="020F0502020204030204" pitchFamily="34" charset="0"/>
                <a:cs typeface="Calibri" panose="020F0502020204030204" pitchFamily="34" charset="0"/>
              </a:rPr>
              <a:t> </a:t>
            </a:r>
          </a:p>
          <a:p>
            <a:endParaRPr lang="en-US" sz="3200"/>
          </a:p>
        </p:txBody>
      </p:sp>
    </p:spTree>
    <p:extLst>
      <p:ext uri="{BB962C8B-B14F-4D97-AF65-F5344CB8AC3E}">
        <p14:creationId xmlns:p14="http://schemas.microsoft.com/office/powerpoint/2010/main" val="2043478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A33A2-D1EE-BF60-FF47-89E9DC2CB1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514B69-CB5D-E30A-5F96-B1338EEAEBAC}"/>
              </a:ext>
            </a:extLst>
          </p:cNvPr>
          <p:cNvSpPr>
            <a:spLocks noGrp="1"/>
          </p:cNvSpPr>
          <p:nvPr>
            <p:ph type="title"/>
          </p:nvPr>
        </p:nvSpPr>
        <p:spPr>
          <a:xfrm>
            <a:off x="553846" y="348433"/>
            <a:ext cx="10602418" cy="731520"/>
          </a:xfrm>
        </p:spPr>
        <p:txBody>
          <a:bodyPr/>
          <a:lstStyle/>
          <a:p>
            <a:pPr algn="ctr"/>
            <a:r>
              <a:rPr lang="en-US" sz="3600" b="0">
                <a:solidFill>
                  <a:srgbClr val="FFFFFF"/>
                </a:solidFill>
                <a:latin typeface="Calibri"/>
                <a:ea typeface="Calibri"/>
                <a:cs typeface="Calibri"/>
              </a:rPr>
              <a:t>Scenario #1: On School Grounds</a:t>
            </a:r>
            <a:endParaRPr lang="en-US" sz="32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F5BE6DCD-1D5B-0994-C53C-5A46FC7B3795}"/>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4" name="Rectangle: Rounded Corners 3">
            <a:extLst>
              <a:ext uri="{FF2B5EF4-FFF2-40B4-BE49-F238E27FC236}">
                <a16:creationId xmlns:a16="http://schemas.microsoft.com/office/drawing/2014/main" id="{425F1255-987D-8009-BA5D-0C977337A520}"/>
              </a:ext>
            </a:extLst>
          </p:cNvPr>
          <p:cNvSpPr/>
          <p:nvPr/>
        </p:nvSpPr>
        <p:spPr>
          <a:xfrm>
            <a:off x="553846" y="1489505"/>
            <a:ext cx="11071057" cy="959781"/>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b="1">
                <a:solidFill>
                  <a:schemeClr val="tx1"/>
                </a:solidFill>
                <a:latin typeface="Calibri" panose="020F0502020204030204" pitchFamily="34" charset="0"/>
                <a:ea typeface="Calibri" panose="020F0502020204030204" pitchFamily="34" charset="0"/>
                <a:cs typeface="Calibri" panose="020F0502020204030204" pitchFamily="34" charset="0"/>
              </a:rPr>
              <a:t>Factors to Consider</a:t>
            </a:r>
          </a:p>
        </p:txBody>
      </p:sp>
      <p:sp>
        <p:nvSpPr>
          <p:cNvPr id="3" name="Content Placeholder 2">
            <a:extLst>
              <a:ext uri="{FF2B5EF4-FFF2-40B4-BE49-F238E27FC236}">
                <a16:creationId xmlns:a16="http://schemas.microsoft.com/office/drawing/2014/main" id="{AD72DEF3-8A68-3E1E-1F9D-8B99A6183838}"/>
              </a:ext>
            </a:extLst>
          </p:cNvPr>
          <p:cNvSpPr>
            <a:spLocks noGrp="1"/>
          </p:cNvSpPr>
          <p:nvPr>
            <p:ph sz="quarter" idx="11"/>
          </p:nvPr>
        </p:nvSpPr>
        <p:spPr>
          <a:xfrm>
            <a:off x="553846" y="2560841"/>
            <a:ext cx="11474548" cy="4825937"/>
          </a:xfrm>
        </p:spPr>
        <p:txBody>
          <a:bodyPr vert="horz" wrap="square" lIns="0" tIns="0" rIns="0" bIns="0" rtlCol="0" anchor="t">
            <a:spAutoFit/>
          </a:bodyPr>
          <a:lstStyle/>
          <a:p>
            <a:pPr marL="571500" lvl="1" indent="-457200">
              <a:spcBef>
                <a:spcPct val="20000"/>
              </a:spcBef>
              <a:spcAft>
                <a:spcPts val="0"/>
              </a:spcAft>
            </a:pPr>
            <a:r>
              <a:rPr lang="en-US" sz="3200">
                <a:solidFill>
                  <a:schemeClr val="accent1">
                    <a:lumMod val="60000"/>
                    <a:lumOff val="40000"/>
                  </a:schemeClr>
                </a:solidFill>
                <a:latin typeface="Calibri"/>
                <a:ea typeface="Calibri"/>
                <a:cs typeface="Calibri"/>
              </a:rPr>
              <a:t>Likelihood of students witnessing or interfering with the ICE encounter </a:t>
            </a:r>
          </a:p>
          <a:p>
            <a:pPr marL="571500" lvl="1" indent="-457200">
              <a:spcBef>
                <a:spcPct val="20000"/>
              </a:spcBef>
              <a:spcAft>
                <a:spcPts val="0"/>
              </a:spcAft>
            </a:pPr>
            <a:r>
              <a:rPr lang="en-US" sz="3200">
                <a:solidFill>
                  <a:schemeClr val="accent1">
                    <a:lumMod val="60000"/>
                    <a:lumOff val="40000"/>
                  </a:schemeClr>
                </a:solidFill>
                <a:latin typeface="Calibri"/>
                <a:ea typeface="Calibri"/>
                <a:cs typeface="Calibri"/>
              </a:rPr>
              <a:t>Whether the school has a lockdown policy that extends to all forms of armed law enforcement on school grounds (due to inherent risks of weapons, for e.g.)</a:t>
            </a:r>
          </a:p>
          <a:p>
            <a:pPr marL="571500" lvl="1" indent="-457200">
              <a:spcBef>
                <a:spcPct val="20000"/>
              </a:spcBef>
              <a:spcAft>
                <a:spcPts val="0"/>
              </a:spcAft>
            </a:pPr>
            <a:r>
              <a:rPr lang="en-US" sz="3200">
                <a:solidFill>
                  <a:schemeClr val="accent1">
                    <a:lumMod val="60000"/>
                    <a:lumOff val="40000"/>
                  </a:schemeClr>
                </a:solidFill>
                <a:latin typeface="Calibri"/>
                <a:ea typeface="Calibri"/>
                <a:cs typeface="Calibri"/>
              </a:rPr>
              <a:t>Location on campus (e.g., inside school, outside but on school property, off-school property)?</a:t>
            </a:r>
          </a:p>
          <a:p>
            <a:pPr lvl="1" indent="-342900">
              <a:spcBef>
                <a:spcPct val="20000"/>
              </a:spcBef>
              <a:spcAft>
                <a:spcPts val="0"/>
              </a:spcAft>
              <a:buFont typeface="Arial,Sans-Serif" panose="05000000000000000000" pitchFamily="2" charset="2"/>
              <a:buChar char="•"/>
            </a:pPr>
            <a:endParaRPr lang="en-US" sz="3200">
              <a:solidFill>
                <a:schemeClr val="accent1">
                  <a:lumMod val="60000"/>
                  <a:lumOff val="40000"/>
                </a:schemeClr>
              </a:solidFill>
              <a:latin typeface="Calibri"/>
              <a:ea typeface="Calibri"/>
              <a:cs typeface="Calibri"/>
            </a:endParaRPr>
          </a:p>
          <a:p>
            <a:pPr lvl="1" indent="-342900">
              <a:spcBef>
                <a:spcPct val="20000"/>
              </a:spcBef>
              <a:spcAft>
                <a:spcPts val="0"/>
              </a:spcAft>
              <a:buFont typeface="Arial,Sans-Serif" panose="05000000000000000000" pitchFamily="2" charset="2"/>
              <a:buChar char="•"/>
            </a:pPr>
            <a:endParaRPr lang="en-US" sz="3200">
              <a:solidFill>
                <a:schemeClr val="accent1">
                  <a:lumMod val="60000"/>
                  <a:lumOff val="40000"/>
                </a:schemeClr>
              </a:solidFill>
              <a:latin typeface="Calibri"/>
              <a:ea typeface="Calibri"/>
              <a:cs typeface="Calibri"/>
            </a:endParaRPr>
          </a:p>
        </p:txBody>
      </p:sp>
    </p:spTree>
    <p:extLst>
      <p:ext uri="{BB962C8B-B14F-4D97-AF65-F5344CB8AC3E}">
        <p14:creationId xmlns:p14="http://schemas.microsoft.com/office/powerpoint/2010/main" val="34377887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08236-A543-8D44-5E36-E3AAB7E6ACA7}"/>
              </a:ext>
            </a:extLst>
          </p:cNvPr>
          <p:cNvSpPr>
            <a:spLocks noGrp="1"/>
          </p:cNvSpPr>
          <p:nvPr>
            <p:ph type="title"/>
          </p:nvPr>
        </p:nvSpPr>
        <p:spPr>
          <a:xfrm>
            <a:off x="139700" y="166487"/>
            <a:ext cx="10515600" cy="650875"/>
          </a:xfrm>
        </p:spPr>
        <p:txBody>
          <a:bodyPr wrap="square" anchor="ctr">
            <a:normAutofit/>
          </a:bodyPr>
          <a:lstStyle/>
          <a:p>
            <a:pPr algn="ctr"/>
            <a:r>
              <a:rPr lang="en-US" i="1"/>
              <a:t>Rights and Responsibilities of School Staff as Bystanders</a:t>
            </a:r>
          </a:p>
        </p:txBody>
      </p:sp>
      <p:graphicFrame>
        <p:nvGraphicFramePr>
          <p:cNvPr id="19" name="Content Placeholder 4">
            <a:extLst>
              <a:ext uri="{FF2B5EF4-FFF2-40B4-BE49-F238E27FC236}">
                <a16:creationId xmlns:a16="http://schemas.microsoft.com/office/drawing/2014/main" id="{7DF2D0A5-605C-B8F2-7EDB-E789AEEC6253}"/>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3826277748"/>
              </p:ext>
            </p:extLst>
          </p:nvPr>
        </p:nvGraphicFramePr>
        <p:xfrm>
          <a:off x="1045029" y="1293962"/>
          <a:ext cx="10515599" cy="51939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9FB27E8E-04BC-AE33-B75C-6119A9911F00}"/>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238569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8E17F-2F32-1C00-7196-38BA41DFDA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A13D48-C0E8-89C1-6F84-010DAF8F65C4}"/>
              </a:ext>
            </a:extLst>
          </p:cNvPr>
          <p:cNvSpPr>
            <a:spLocks noGrp="1"/>
          </p:cNvSpPr>
          <p:nvPr>
            <p:ph type="title"/>
          </p:nvPr>
        </p:nvSpPr>
        <p:spPr>
          <a:xfrm>
            <a:off x="554736" y="790647"/>
            <a:ext cx="10602418" cy="731520"/>
          </a:xfrm>
        </p:spPr>
        <p:txBody>
          <a:bodyPr/>
          <a:lstStyle/>
          <a:p>
            <a:pPr algn="ctr"/>
            <a:r>
              <a:rPr lang="en-US" sz="3600" b="0">
                <a:solidFill>
                  <a:srgbClr val="FFFFFF"/>
                </a:solidFill>
                <a:latin typeface="Calibri"/>
                <a:ea typeface="Calibri"/>
                <a:cs typeface="Calibri"/>
              </a:rPr>
              <a:t>Scenario #2: Child At School</a:t>
            </a:r>
            <a:endParaRPr lang="en-US" sz="36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79FC6F34-7D88-F767-D91E-8942F8C28FCE}"/>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8" name="Content Placeholder 2">
            <a:extLst>
              <a:ext uri="{FF2B5EF4-FFF2-40B4-BE49-F238E27FC236}">
                <a16:creationId xmlns:a16="http://schemas.microsoft.com/office/drawing/2014/main" id="{22C7FF05-D203-6372-5257-DC65C14797DD}"/>
              </a:ext>
            </a:extLst>
          </p:cNvPr>
          <p:cNvSpPr>
            <a:spLocks noGrp="1"/>
          </p:cNvSpPr>
          <p:nvPr>
            <p:ph sz="quarter" idx="11"/>
          </p:nvPr>
        </p:nvSpPr>
        <p:spPr>
          <a:xfrm>
            <a:off x="554038" y="1514475"/>
            <a:ext cx="11082337" cy="3885679"/>
          </a:xfrm>
        </p:spPr>
        <p:txBody>
          <a:bodyPr vert="horz" wrap="square" lIns="0" tIns="0" rIns="0" bIns="0" rtlCol="0" anchor="t">
            <a:spAutoFit/>
          </a:bodyPr>
          <a:lstStyle/>
          <a:p>
            <a:pPr marL="114300" lvl="1" indent="0" algn="ctr">
              <a:spcBef>
                <a:spcPct val="20000"/>
              </a:spcBef>
              <a:spcAft>
                <a:spcPts val="0"/>
              </a:spcAft>
              <a:buNone/>
            </a:pPr>
            <a:r>
              <a:rPr lang="en-US" sz="3600"/>
              <a:t>During the school day, a member of school staff learns that the custodial parent of a student has just been detained by ICE. The student is currently at school and is unaware of the situation. </a:t>
            </a:r>
            <a:endParaRPr lang="en-US" sz="1200">
              <a:solidFill>
                <a:srgbClr val="000000"/>
              </a:solidFill>
              <a:latin typeface="Calibri"/>
              <a:ea typeface="Calibri"/>
              <a:cs typeface="Calibri"/>
            </a:endParaRPr>
          </a:p>
          <a:p>
            <a:pPr marL="231775" lvl="1" indent="0" algn="ctr">
              <a:spcBef>
                <a:spcPct val="20000"/>
              </a:spcBef>
              <a:spcAft>
                <a:spcPts val="0"/>
              </a:spcAft>
              <a:buNone/>
            </a:pPr>
            <a:r>
              <a:rPr lang="en-US" sz="4000" b="1">
                <a:solidFill>
                  <a:schemeClr val="accent1">
                    <a:lumMod val="60000"/>
                    <a:lumOff val="40000"/>
                  </a:schemeClr>
                </a:solidFill>
                <a:latin typeface="Calibri"/>
                <a:ea typeface="Calibri"/>
                <a:cs typeface="Calibri"/>
              </a:rPr>
              <a:t>What might school staff consider when faced with this situation?</a:t>
            </a:r>
            <a:endParaRPr lang="en-US" sz="3600" b="1">
              <a:solidFill>
                <a:schemeClr val="accent1">
                  <a:lumMod val="60000"/>
                  <a:lumOff val="40000"/>
                </a:schemeClr>
              </a:solidFill>
              <a:latin typeface="Calibri"/>
              <a:ea typeface="Calibri"/>
              <a:cs typeface="Calibri"/>
            </a:endParaRPr>
          </a:p>
          <a:p>
            <a:endParaRPr lang="en-US"/>
          </a:p>
        </p:txBody>
      </p:sp>
    </p:spTree>
    <p:extLst>
      <p:ext uri="{BB962C8B-B14F-4D97-AF65-F5344CB8AC3E}">
        <p14:creationId xmlns:p14="http://schemas.microsoft.com/office/powerpoint/2010/main" val="1680641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57CFA-FE2D-4ADD-6ECB-ACAC9F526E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F24578-2FF6-0BC4-2F92-CE3CF70BF74A}"/>
              </a:ext>
            </a:extLst>
          </p:cNvPr>
          <p:cNvSpPr>
            <a:spLocks noGrp="1"/>
          </p:cNvSpPr>
          <p:nvPr>
            <p:ph type="title"/>
          </p:nvPr>
        </p:nvSpPr>
        <p:spPr>
          <a:xfrm>
            <a:off x="554736" y="790647"/>
            <a:ext cx="10602418" cy="731520"/>
          </a:xfrm>
        </p:spPr>
        <p:txBody>
          <a:bodyPr/>
          <a:lstStyle/>
          <a:p>
            <a:pPr algn="ctr"/>
            <a:r>
              <a:rPr lang="en-US" sz="3600" b="0" dirty="0">
                <a:solidFill>
                  <a:srgbClr val="FFFFFF"/>
                </a:solidFill>
                <a:latin typeface="Calibri"/>
                <a:ea typeface="Calibri"/>
                <a:cs typeface="Calibri"/>
              </a:rPr>
              <a:t>Scenario #2: Child At School  </a:t>
            </a:r>
            <a:endParaRPr lang="en-US" sz="3600" dirty="0"/>
          </a:p>
          <a:p>
            <a:pPr algn="ctr"/>
            <a:endParaRPr lang="en-US" sz="3000" b="0" dirty="0">
              <a:solidFill>
                <a:srgbClr val="FFFFFF"/>
              </a:solidFill>
              <a:latin typeface="Calibri"/>
              <a:ea typeface="Calibri"/>
              <a:cs typeface="Calibri"/>
            </a:endParaRPr>
          </a:p>
          <a:p>
            <a:endParaRPr lang="en-US" dirty="0">
              <a:cs typeface="Arial"/>
            </a:endParaRPr>
          </a:p>
        </p:txBody>
      </p:sp>
      <p:sp>
        <p:nvSpPr>
          <p:cNvPr id="6" name="Text Placeholder 5">
            <a:extLst>
              <a:ext uri="{FF2B5EF4-FFF2-40B4-BE49-F238E27FC236}">
                <a16:creationId xmlns:a16="http://schemas.microsoft.com/office/drawing/2014/main" id="{DE2E0E0C-1FB8-4C44-D43D-23F9DD3F4484}"/>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graphicFrame>
        <p:nvGraphicFramePr>
          <p:cNvPr id="8" name="Content Placeholder 4">
            <a:extLst>
              <a:ext uri="{FF2B5EF4-FFF2-40B4-BE49-F238E27FC236}">
                <a16:creationId xmlns:a16="http://schemas.microsoft.com/office/drawing/2014/main" id="{C1E9A235-1F6A-0372-F888-CA29E1094F70}"/>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891052495"/>
              </p:ext>
            </p:extLst>
          </p:nvPr>
        </p:nvGraphicFramePr>
        <p:xfrm>
          <a:off x="837406" y="1522167"/>
          <a:ext cx="10515600" cy="48704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93235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F2255-871E-105E-AB31-1CF4AFD72703}"/>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F937DF4-E508-1D05-C813-92313C9443D7}"/>
              </a:ext>
              <a:ext uri="{C183D7F6-B498-43B3-948B-1728B52AA6E4}">
                <adec:decorative xmlns:adec="http://schemas.microsoft.com/office/drawing/2017/decorative" val="1"/>
              </a:ext>
            </a:extLst>
          </p:cNvPr>
          <p:cNvSpPr/>
          <p:nvPr/>
        </p:nvSpPr>
        <p:spPr>
          <a:xfrm>
            <a:off x="396614" y="4123582"/>
            <a:ext cx="11071057" cy="731520"/>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rgbClr val="C2DDF6"/>
              </a:solidFill>
            </a:endParaRPr>
          </a:p>
        </p:txBody>
      </p:sp>
      <p:sp>
        <p:nvSpPr>
          <p:cNvPr id="8" name="Rectangle: Rounded Corners 7">
            <a:extLst>
              <a:ext uri="{FF2B5EF4-FFF2-40B4-BE49-F238E27FC236}">
                <a16:creationId xmlns:a16="http://schemas.microsoft.com/office/drawing/2014/main" id="{02C18A6C-ED8E-0431-155C-47501A7E103F}"/>
              </a:ext>
              <a:ext uri="{C183D7F6-B498-43B3-948B-1728B52AA6E4}">
                <adec:decorative xmlns:adec="http://schemas.microsoft.com/office/drawing/2017/decorative" val="1"/>
              </a:ext>
            </a:extLst>
          </p:cNvPr>
          <p:cNvSpPr/>
          <p:nvPr/>
        </p:nvSpPr>
        <p:spPr>
          <a:xfrm>
            <a:off x="396615" y="2970295"/>
            <a:ext cx="11071057" cy="731520"/>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rgbClr val="C2DDF6"/>
              </a:solidFill>
            </a:endParaRPr>
          </a:p>
        </p:txBody>
      </p:sp>
      <p:sp>
        <p:nvSpPr>
          <p:cNvPr id="7" name="Rectangle: Rounded Corners 6">
            <a:extLst>
              <a:ext uri="{FF2B5EF4-FFF2-40B4-BE49-F238E27FC236}">
                <a16:creationId xmlns:a16="http://schemas.microsoft.com/office/drawing/2014/main" id="{88E6A699-7821-E5C6-8C7A-91128E3F9F5E}"/>
              </a:ext>
              <a:ext uri="{C183D7F6-B498-43B3-948B-1728B52AA6E4}">
                <adec:decorative xmlns:adec="http://schemas.microsoft.com/office/drawing/2017/decorative" val="1"/>
              </a:ext>
            </a:extLst>
          </p:cNvPr>
          <p:cNvSpPr/>
          <p:nvPr/>
        </p:nvSpPr>
        <p:spPr>
          <a:xfrm>
            <a:off x="396616" y="1745199"/>
            <a:ext cx="11071057" cy="731520"/>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rgbClr val="C2DDF6"/>
              </a:solidFill>
            </a:endParaRPr>
          </a:p>
        </p:txBody>
      </p:sp>
      <p:sp>
        <p:nvSpPr>
          <p:cNvPr id="2" name="Title 1">
            <a:extLst>
              <a:ext uri="{FF2B5EF4-FFF2-40B4-BE49-F238E27FC236}">
                <a16:creationId xmlns:a16="http://schemas.microsoft.com/office/drawing/2014/main" id="{17D29127-02B4-8F7D-88E2-CACB1076717C}"/>
              </a:ext>
            </a:extLst>
          </p:cNvPr>
          <p:cNvSpPr>
            <a:spLocks noGrp="1"/>
          </p:cNvSpPr>
          <p:nvPr>
            <p:ph type="title"/>
          </p:nvPr>
        </p:nvSpPr>
        <p:spPr>
          <a:xfrm>
            <a:off x="554736" y="790647"/>
            <a:ext cx="10602418" cy="731520"/>
          </a:xfrm>
        </p:spPr>
        <p:txBody>
          <a:bodyPr/>
          <a:lstStyle/>
          <a:p>
            <a:pPr algn="ctr"/>
            <a:r>
              <a:rPr lang="en-US" sz="4000" b="0">
                <a:solidFill>
                  <a:srgbClr val="FFFFFF"/>
                </a:solidFill>
                <a:latin typeface="Calibri"/>
                <a:ea typeface="Calibri"/>
                <a:cs typeface="Calibri"/>
              </a:rPr>
              <a:t>Webinar Topics</a:t>
            </a:r>
            <a:endParaRPr lang="en-US" sz="4000"/>
          </a:p>
          <a:p>
            <a:pPr algn="ctr"/>
            <a:endParaRPr lang="en-US" sz="3000" b="0">
              <a:solidFill>
                <a:srgbClr val="FFFFFF"/>
              </a:solidFill>
              <a:latin typeface="Calibri"/>
              <a:ea typeface="Calibri"/>
              <a:cs typeface="Calibri"/>
            </a:endParaRPr>
          </a:p>
          <a:p>
            <a:endParaRPr lang="en-US">
              <a:cs typeface="Arial"/>
            </a:endParaRPr>
          </a:p>
        </p:txBody>
      </p:sp>
      <p:sp>
        <p:nvSpPr>
          <p:cNvPr id="3" name="Content Placeholder 2">
            <a:extLst>
              <a:ext uri="{FF2B5EF4-FFF2-40B4-BE49-F238E27FC236}">
                <a16:creationId xmlns:a16="http://schemas.microsoft.com/office/drawing/2014/main" id="{F6983EA2-6394-8B37-0AEF-A0FBD31261E4}"/>
              </a:ext>
            </a:extLst>
          </p:cNvPr>
          <p:cNvSpPr>
            <a:spLocks noGrp="1"/>
          </p:cNvSpPr>
          <p:nvPr>
            <p:ph sz="quarter" idx="11"/>
          </p:nvPr>
        </p:nvSpPr>
        <p:spPr>
          <a:xfrm>
            <a:off x="553847" y="1871526"/>
            <a:ext cx="11082528" cy="3171637"/>
          </a:xfrm>
        </p:spPr>
        <p:txBody>
          <a:bodyPr vert="horz" wrap="square" lIns="0" tIns="0" rIns="0" bIns="0" rtlCol="0" anchor="t">
            <a:spAutoFit/>
          </a:bodyPr>
          <a:lstStyle/>
          <a:p>
            <a:pPr lvl="1" indent="-342900">
              <a:spcBef>
                <a:spcPct val="20000"/>
              </a:spcBef>
              <a:spcAft>
                <a:spcPts val="0"/>
              </a:spcAft>
              <a:buFont typeface="Arial,Sans-Serif" panose="05000000000000000000" pitchFamily="2" charset="2"/>
              <a:buChar char="•"/>
            </a:pPr>
            <a:r>
              <a:rPr lang="en-US" sz="3200" b="1">
                <a:solidFill>
                  <a:srgbClr val="FF0000"/>
                </a:solidFill>
                <a:latin typeface="Calibri"/>
                <a:ea typeface="Calibri"/>
                <a:cs typeface="Calibri"/>
              </a:rPr>
              <a:t>Refresher: Know Your Rights/School-Specific Actions</a:t>
            </a:r>
          </a:p>
          <a:p>
            <a:pPr marL="114300" lvl="1" indent="0">
              <a:spcBef>
                <a:spcPct val="20000"/>
              </a:spcBef>
              <a:spcAft>
                <a:spcPts val="0"/>
              </a:spcAft>
              <a:buNone/>
            </a:pPr>
            <a:endParaRPr lang="en-US" sz="3200" b="1">
              <a:solidFill>
                <a:srgbClr val="FF0000"/>
              </a:solidFill>
              <a:latin typeface="Calibri"/>
              <a:ea typeface="Calibri"/>
              <a:cs typeface="Calibri"/>
            </a:endParaRPr>
          </a:p>
          <a:p>
            <a:pPr lvl="1" indent="-342900">
              <a:spcBef>
                <a:spcPct val="20000"/>
              </a:spcBef>
              <a:spcAft>
                <a:spcPts val="0"/>
              </a:spcAft>
              <a:buFont typeface="Arial,Sans-Serif" panose="05000000000000000000" pitchFamily="2" charset="2"/>
              <a:buChar char="•"/>
            </a:pPr>
            <a:r>
              <a:rPr lang="en-US" sz="3200" b="1">
                <a:solidFill>
                  <a:srgbClr val="FF0000"/>
                </a:solidFill>
                <a:latin typeface="Calibri"/>
                <a:ea typeface="Calibri"/>
                <a:cs typeface="Calibri"/>
              </a:rPr>
              <a:t>Application: Scenarios + Considerations</a:t>
            </a:r>
          </a:p>
          <a:p>
            <a:pPr marL="114300" lvl="1" indent="0">
              <a:spcBef>
                <a:spcPct val="20000"/>
              </a:spcBef>
              <a:spcAft>
                <a:spcPts val="0"/>
              </a:spcAft>
              <a:buNone/>
            </a:pPr>
            <a:endParaRPr lang="en-US" sz="3200" b="1">
              <a:solidFill>
                <a:srgbClr val="FF0000"/>
              </a:solidFill>
              <a:latin typeface="Calibri"/>
              <a:ea typeface="Calibri"/>
              <a:cs typeface="Calibri"/>
            </a:endParaRPr>
          </a:p>
          <a:p>
            <a:pPr lvl="1" indent="-342900">
              <a:spcBef>
                <a:spcPct val="20000"/>
              </a:spcBef>
              <a:spcAft>
                <a:spcPts val="0"/>
              </a:spcAft>
              <a:buFont typeface="Arial,Sans-Serif" panose="05000000000000000000" pitchFamily="2" charset="2"/>
              <a:buChar char="•"/>
            </a:pPr>
            <a:r>
              <a:rPr lang="en-US" sz="3200" b="1">
                <a:solidFill>
                  <a:srgbClr val="FF0000"/>
                </a:solidFill>
                <a:latin typeface="Calibri"/>
                <a:ea typeface="Calibri"/>
                <a:cs typeface="Calibri"/>
              </a:rPr>
              <a:t>Additional Resources</a:t>
            </a:r>
            <a:endParaRPr lang="en-US" sz="3200">
              <a:solidFill>
                <a:schemeClr val="accent1">
                  <a:lumMod val="60000"/>
                  <a:lumOff val="40000"/>
                </a:schemeClr>
              </a:solidFill>
              <a:latin typeface="Calibri"/>
              <a:ea typeface="Calibri"/>
              <a:cs typeface="Calibri"/>
            </a:endParaRPr>
          </a:p>
          <a:p>
            <a:endParaRPr lang="en-US"/>
          </a:p>
        </p:txBody>
      </p:sp>
      <p:sp>
        <p:nvSpPr>
          <p:cNvPr id="6" name="Text Placeholder 5">
            <a:extLst>
              <a:ext uri="{FF2B5EF4-FFF2-40B4-BE49-F238E27FC236}">
                <a16:creationId xmlns:a16="http://schemas.microsoft.com/office/drawing/2014/main" id="{0819524F-40EC-1D1A-09BA-75B3BBDF49A1}"/>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Tree>
    <p:extLst>
      <p:ext uri="{BB962C8B-B14F-4D97-AF65-F5344CB8AC3E}">
        <p14:creationId xmlns:p14="http://schemas.microsoft.com/office/powerpoint/2010/main" val="1695516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219FA-C665-9FA9-D209-2075400FD5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69AF05-7756-CC14-7C43-F0EBD3A8AEA0}"/>
              </a:ext>
            </a:extLst>
          </p:cNvPr>
          <p:cNvSpPr>
            <a:spLocks noGrp="1"/>
          </p:cNvSpPr>
          <p:nvPr>
            <p:ph type="title"/>
          </p:nvPr>
        </p:nvSpPr>
        <p:spPr>
          <a:xfrm>
            <a:off x="554736" y="790647"/>
            <a:ext cx="10602418" cy="731520"/>
          </a:xfrm>
        </p:spPr>
        <p:txBody>
          <a:bodyPr/>
          <a:lstStyle/>
          <a:p>
            <a:pPr algn="ctr"/>
            <a:r>
              <a:rPr lang="en-US" sz="3000" b="0">
                <a:solidFill>
                  <a:srgbClr val="FFFFFF"/>
                </a:solidFill>
                <a:latin typeface="Calibri"/>
                <a:ea typeface="Calibri"/>
                <a:cs typeface="Calibri"/>
              </a:rPr>
              <a:t>Scenario #3: Parent Detained Outside of School Hours</a:t>
            </a:r>
            <a:endParaRPr lang="en-US" sz="30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1F17626E-E0C7-4718-3EF2-A68A54FEF606}"/>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10" name="Content Placeholder 2">
            <a:extLst>
              <a:ext uri="{FF2B5EF4-FFF2-40B4-BE49-F238E27FC236}">
                <a16:creationId xmlns:a16="http://schemas.microsoft.com/office/drawing/2014/main" id="{28BAE08F-2EDD-54D8-040A-712F56142218}"/>
              </a:ext>
            </a:extLst>
          </p:cNvPr>
          <p:cNvSpPr>
            <a:spLocks noGrp="1"/>
          </p:cNvSpPr>
          <p:nvPr>
            <p:ph sz="quarter" idx="11"/>
          </p:nvPr>
        </p:nvSpPr>
        <p:spPr>
          <a:xfrm>
            <a:off x="554038" y="1689028"/>
            <a:ext cx="11082337" cy="4107278"/>
          </a:xfrm>
        </p:spPr>
        <p:txBody>
          <a:bodyPr vert="horz" wrap="square" lIns="0" tIns="0" rIns="0" bIns="0" rtlCol="0" anchor="t">
            <a:spAutoFit/>
          </a:bodyPr>
          <a:lstStyle/>
          <a:p>
            <a:pPr marL="114300" lvl="1" indent="0" algn="ctr">
              <a:spcBef>
                <a:spcPct val="20000"/>
              </a:spcBef>
              <a:spcAft>
                <a:spcPts val="0"/>
              </a:spcAft>
              <a:buNone/>
            </a:pPr>
            <a:r>
              <a:rPr lang="en-US" sz="3600"/>
              <a:t>On Monday morning, a teacher learns via a media article that </a:t>
            </a:r>
            <a:r>
              <a:rPr lang="en-US" sz="3600" b="1"/>
              <a:t>a parent of one of their students </a:t>
            </a:r>
            <a:r>
              <a:rPr lang="en-US" sz="3600"/>
              <a:t>was detained by ICE over the weekend. The student is in school but visibly distraught.</a:t>
            </a:r>
            <a:endParaRPr lang="en-US" sz="3200">
              <a:solidFill>
                <a:schemeClr val="accent1">
                  <a:lumMod val="60000"/>
                  <a:lumOff val="40000"/>
                </a:schemeClr>
              </a:solidFill>
              <a:latin typeface="Calibri"/>
              <a:ea typeface="Calibri"/>
              <a:cs typeface="Calibri"/>
            </a:endParaRPr>
          </a:p>
          <a:p>
            <a:pPr lvl="1" indent="-342900">
              <a:spcBef>
                <a:spcPct val="20000"/>
              </a:spcBef>
              <a:spcAft>
                <a:spcPts val="0"/>
              </a:spcAft>
              <a:buFont typeface="Arial,Sans-Serif" panose="05000000000000000000" pitchFamily="2" charset="2"/>
              <a:buChar char="•"/>
            </a:pPr>
            <a:endParaRPr lang="en-US" sz="1200">
              <a:solidFill>
                <a:srgbClr val="000000"/>
              </a:solidFill>
              <a:latin typeface="Calibri"/>
              <a:ea typeface="Calibri"/>
              <a:cs typeface="Calibri"/>
            </a:endParaRPr>
          </a:p>
          <a:p>
            <a:pPr marL="231775" lvl="1" indent="0" algn="ctr">
              <a:spcBef>
                <a:spcPct val="20000"/>
              </a:spcBef>
              <a:spcAft>
                <a:spcPts val="0"/>
              </a:spcAft>
              <a:buNone/>
            </a:pPr>
            <a:r>
              <a:rPr lang="en-US" sz="4000" b="1">
                <a:solidFill>
                  <a:schemeClr val="accent1">
                    <a:lumMod val="60000"/>
                    <a:lumOff val="40000"/>
                  </a:schemeClr>
                </a:solidFill>
                <a:latin typeface="Calibri"/>
                <a:ea typeface="Calibri"/>
                <a:cs typeface="Calibri"/>
              </a:rPr>
              <a:t>What might school staff consider when faced with this situation?</a:t>
            </a:r>
            <a:endParaRPr lang="en-US" sz="3600" b="1">
              <a:solidFill>
                <a:schemeClr val="accent1">
                  <a:lumMod val="60000"/>
                  <a:lumOff val="40000"/>
                </a:schemeClr>
              </a:solidFill>
              <a:latin typeface="Calibri"/>
              <a:ea typeface="Calibri"/>
              <a:cs typeface="Calibri"/>
            </a:endParaRPr>
          </a:p>
          <a:p>
            <a:endParaRPr lang="en-US"/>
          </a:p>
        </p:txBody>
      </p:sp>
    </p:spTree>
    <p:extLst>
      <p:ext uri="{BB962C8B-B14F-4D97-AF65-F5344CB8AC3E}">
        <p14:creationId xmlns:p14="http://schemas.microsoft.com/office/powerpoint/2010/main" val="27717185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4F10E-2419-C82E-4831-C3E221431B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D84970-9E5B-C8E1-E1E3-BD2358835A71}"/>
              </a:ext>
            </a:extLst>
          </p:cNvPr>
          <p:cNvSpPr>
            <a:spLocks noGrp="1"/>
          </p:cNvSpPr>
          <p:nvPr>
            <p:ph type="title"/>
          </p:nvPr>
        </p:nvSpPr>
        <p:spPr>
          <a:xfrm>
            <a:off x="554736" y="790647"/>
            <a:ext cx="10602418" cy="731520"/>
          </a:xfrm>
        </p:spPr>
        <p:txBody>
          <a:bodyPr/>
          <a:lstStyle/>
          <a:p>
            <a:pPr algn="ctr"/>
            <a:r>
              <a:rPr lang="en-US" sz="3000" b="0" dirty="0">
                <a:solidFill>
                  <a:srgbClr val="FFFFFF"/>
                </a:solidFill>
                <a:latin typeface="Calibri"/>
                <a:ea typeface="Calibri"/>
                <a:cs typeface="Calibri"/>
              </a:rPr>
              <a:t>Scenario #3: Parent Detained Outside of School Hours  </a:t>
            </a:r>
            <a:endParaRPr lang="en-US" sz="3000" dirty="0"/>
          </a:p>
          <a:p>
            <a:pPr algn="ctr"/>
            <a:endParaRPr lang="en-US" sz="3000" b="0" dirty="0">
              <a:solidFill>
                <a:srgbClr val="FFFFFF"/>
              </a:solidFill>
              <a:latin typeface="Calibri"/>
              <a:ea typeface="Calibri"/>
              <a:cs typeface="Calibri"/>
            </a:endParaRPr>
          </a:p>
          <a:p>
            <a:endParaRPr lang="en-US" dirty="0">
              <a:cs typeface="Arial"/>
            </a:endParaRPr>
          </a:p>
        </p:txBody>
      </p:sp>
      <p:sp>
        <p:nvSpPr>
          <p:cNvPr id="6" name="Text Placeholder 5">
            <a:extLst>
              <a:ext uri="{FF2B5EF4-FFF2-40B4-BE49-F238E27FC236}">
                <a16:creationId xmlns:a16="http://schemas.microsoft.com/office/drawing/2014/main" id="{F2834ED5-0FEA-42C3-2D30-420590213539}"/>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graphicFrame>
        <p:nvGraphicFramePr>
          <p:cNvPr id="5" name="Content Placeholder 4">
            <a:extLst>
              <a:ext uri="{FF2B5EF4-FFF2-40B4-BE49-F238E27FC236}">
                <a16:creationId xmlns:a16="http://schemas.microsoft.com/office/drawing/2014/main" id="{572D5D95-C9FE-71FC-7359-1EB693CE5EF2}"/>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87817466"/>
              </p:ext>
            </p:extLst>
          </p:nvPr>
        </p:nvGraphicFramePr>
        <p:xfrm>
          <a:off x="837406" y="1522168"/>
          <a:ext cx="10515600" cy="38395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67634674-D2A5-D2A7-6546-D6BF18583AEC}"/>
              </a:ext>
            </a:extLst>
          </p:cNvPr>
          <p:cNvSpPr/>
          <p:nvPr/>
        </p:nvSpPr>
        <p:spPr>
          <a:xfrm>
            <a:off x="837406" y="5505903"/>
            <a:ext cx="10515600" cy="80781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algn="ctr"/>
            <a:r>
              <a:rPr lang="en-US" sz="2400" b="1">
                <a:solidFill>
                  <a:srgbClr val="FF0000"/>
                </a:solidFill>
                <a:latin typeface="Calibri"/>
                <a:ea typeface="Calibri"/>
                <a:cs typeface="Calibri"/>
              </a:rPr>
              <a:t>For ALL students: </a:t>
            </a:r>
            <a:r>
              <a:rPr lang="en-US" sz="2400">
                <a:solidFill>
                  <a:schemeClr val="tx1"/>
                </a:solidFill>
                <a:latin typeface="Calibri" panose="020F0502020204030204" pitchFamily="34" charset="0"/>
                <a:ea typeface="Calibri" panose="020F0502020204030204" pitchFamily="34" charset="0"/>
                <a:cs typeface="Calibri" panose="020F0502020204030204" pitchFamily="34" charset="0"/>
              </a:rPr>
              <a:t>Maintain sensitivity and awareness regarding student absences, lack of engagement, and behavioral challenges in school</a:t>
            </a:r>
            <a:endParaRPr lang="en-US" sz="2400">
              <a:solidFill>
                <a:schemeClr val="tx1"/>
              </a:solidFill>
              <a:latin typeface="Calibri"/>
              <a:ea typeface="Calibri"/>
              <a:cs typeface="Calibri"/>
            </a:endParaRPr>
          </a:p>
          <a:p>
            <a:pPr algn="ctr"/>
            <a:endParaRPr lang="en-US" sz="2800" b="1">
              <a:solidFill>
                <a:srgbClr val="FF0000"/>
              </a:solidFill>
              <a:latin typeface="Calibri" panose="020F0502020204030204" pitchFamily="34" charset="0"/>
              <a:ea typeface="Calibri" panose="020F0502020204030204" pitchFamily="34" charset="0"/>
              <a:cs typeface="Calibri" panose="020F0502020204030204" pitchFamily="34" charset="0"/>
            </a:endParaRPr>
          </a:p>
          <a:p>
            <a:endParaRPr lang="en-US" sz="2800"/>
          </a:p>
        </p:txBody>
      </p:sp>
    </p:spTree>
    <p:extLst>
      <p:ext uri="{BB962C8B-B14F-4D97-AF65-F5344CB8AC3E}">
        <p14:creationId xmlns:p14="http://schemas.microsoft.com/office/powerpoint/2010/main" val="110193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A7470-99AB-1C33-1046-CC2B69D109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9C3698-67BA-BA11-2F17-F7533B081D01}"/>
              </a:ext>
            </a:extLst>
          </p:cNvPr>
          <p:cNvSpPr>
            <a:spLocks noGrp="1"/>
          </p:cNvSpPr>
          <p:nvPr>
            <p:ph type="title"/>
          </p:nvPr>
        </p:nvSpPr>
        <p:spPr>
          <a:xfrm>
            <a:off x="554736" y="790647"/>
            <a:ext cx="10602418" cy="731520"/>
          </a:xfrm>
        </p:spPr>
        <p:txBody>
          <a:bodyPr/>
          <a:lstStyle/>
          <a:p>
            <a:pPr algn="ctr"/>
            <a:r>
              <a:rPr lang="en-US" sz="3000" b="0">
                <a:solidFill>
                  <a:srgbClr val="FFFFFF"/>
                </a:solidFill>
                <a:latin typeface="Calibri"/>
                <a:ea typeface="Calibri"/>
                <a:cs typeface="Calibri"/>
              </a:rPr>
              <a:t>Scenario #4: Child Detained Outside of School Hours</a:t>
            </a:r>
            <a:endParaRPr lang="en-US" sz="30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C4D28752-3C2B-30FE-A07E-D1984B64603E}"/>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10" name="Content Placeholder 2">
            <a:extLst>
              <a:ext uri="{FF2B5EF4-FFF2-40B4-BE49-F238E27FC236}">
                <a16:creationId xmlns:a16="http://schemas.microsoft.com/office/drawing/2014/main" id="{CFC396EC-A018-168C-6A74-749113944ECA}"/>
              </a:ext>
            </a:extLst>
          </p:cNvPr>
          <p:cNvSpPr>
            <a:spLocks noGrp="1"/>
          </p:cNvSpPr>
          <p:nvPr>
            <p:ph sz="quarter" idx="11"/>
          </p:nvPr>
        </p:nvSpPr>
        <p:spPr>
          <a:xfrm>
            <a:off x="554038" y="2089967"/>
            <a:ext cx="11082337" cy="3331681"/>
          </a:xfrm>
        </p:spPr>
        <p:txBody>
          <a:bodyPr vert="horz" wrap="square" lIns="0" tIns="0" rIns="0" bIns="0" rtlCol="0" anchor="t">
            <a:spAutoFit/>
          </a:bodyPr>
          <a:lstStyle/>
          <a:p>
            <a:pPr marL="114300" lvl="1" indent="0" algn="ctr">
              <a:spcBef>
                <a:spcPct val="20000"/>
              </a:spcBef>
              <a:spcAft>
                <a:spcPts val="0"/>
              </a:spcAft>
              <a:buNone/>
            </a:pPr>
            <a:r>
              <a:rPr lang="en-US" sz="3600"/>
              <a:t>On Monday morning, a teacher learns from a fellow student that </a:t>
            </a:r>
            <a:r>
              <a:rPr lang="en-US" sz="3600" b="1"/>
              <a:t>one of their students</a:t>
            </a:r>
            <a:r>
              <a:rPr lang="en-US" sz="3600"/>
              <a:t> was detained by ICE over the weekend. </a:t>
            </a:r>
            <a:endParaRPr lang="en-US" sz="1200">
              <a:solidFill>
                <a:srgbClr val="000000"/>
              </a:solidFill>
              <a:latin typeface="Calibri"/>
              <a:ea typeface="Calibri"/>
              <a:cs typeface="Calibri"/>
            </a:endParaRPr>
          </a:p>
          <a:p>
            <a:pPr marL="231775" lvl="1" indent="0" algn="ctr">
              <a:spcBef>
                <a:spcPct val="20000"/>
              </a:spcBef>
              <a:spcAft>
                <a:spcPts val="0"/>
              </a:spcAft>
              <a:buNone/>
            </a:pPr>
            <a:r>
              <a:rPr lang="en-US" sz="4000" b="1">
                <a:solidFill>
                  <a:schemeClr val="accent1">
                    <a:lumMod val="60000"/>
                    <a:lumOff val="40000"/>
                  </a:schemeClr>
                </a:solidFill>
                <a:latin typeface="Calibri"/>
                <a:ea typeface="Calibri"/>
                <a:cs typeface="Calibri"/>
              </a:rPr>
              <a:t>What might school staff consider when faced with this situation?</a:t>
            </a:r>
            <a:endParaRPr lang="en-US" sz="3600" b="1">
              <a:solidFill>
                <a:schemeClr val="accent1">
                  <a:lumMod val="60000"/>
                  <a:lumOff val="40000"/>
                </a:schemeClr>
              </a:solidFill>
              <a:latin typeface="Calibri"/>
              <a:ea typeface="Calibri"/>
              <a:cs typeface="Calibri"/>
            </a:endParaRPr>
          </a:p>
          <a:p>
            <a:endParaRPr lang="en-US"/>
          </a:p>
        </p:txBody>
      </p:sp>
    </p:spTree>
    <p:extLst>
      <p:ext uri="{BB962C8B-B14F-4D97-AF65-F5344CB8AC3E}">
        <p14:creationId xmlns:p14="http://schemas.microsoft.com/office/powerpoint/2010/main" val="36006130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092AC-C896-0472-0741-EBB33FAE88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C5213C-DAD1-44A9-6C4A-79F9779C96DE}"/>
              </a:ext>
            </a:extLst>
          </p:cNvPr>
          <p:cNvSpPr>
            <a:spLocks noGrp="1"/>
          </p:cNvSpPr>
          <p:nvPr>
            <p:ph type="title"/>
          </p:nvPr>
        </p:nvSpPr>
        <p:spPr>
          <a:xfrm>
            <a:off x="554736" y="790647"/>
            <a:ext cx="10602418" cy="731520"/>
          </a:xfrm>
        </p:spPr>
        <p:txBody>
          <a:bodyPr/>
          <a:lstStyle/>
          <a:p>
            <a:pPr algn="ctr"/>
            <a:r>
              <a:rPr lang="en-US" sz="3000" b="0" dirty="0">
                <a:solidFill>
                  <a:srgbClr val="FFFFFF"/>
                </a:solidFill>
                <a:latin typeface="Calibri"/>
                <a:ea typeface="Calibri"/>
                <a:cs typeface="Calibri"/>
              </a:rPr>
              <a:t>Scenario #4: Child Detained Outside of School Hours  </a:t>
            </a:r>
            <a:endParaRPr lang="en-US" sz="3000" dirty="0"/>
          </a:p>
          <a:p>
            <a:pPr algn="ctr"/>
            <a:endParaRPr lang="en-US" sz="3000" b="0" dirty="0">
              <a:solidFill>
                <a:srgbClr val="FFFFFF"/>
              </a:solidFill>
              <a:latin typeface="Calibri"/>
              <a:ea typeface="Calibri"/>
              <a:cs typeface="Calibri"/>
            </a:endParaRPr>
          </a:p>
          <a:p>
            <a:endParaRPr lang="en-US" dirty="0">
              <a:cs typeface="Arial"/>
            </a:endParaRPr>
          </a:p>
        </p:txBody>
      </p:sp>
      <p:sp>
        <p:nvSpPr>
          <p:cNvPr id="6" name="Text Placeholder 5">
            <a:extLst>
              <a:ext uri="{FF2B5EF4-FFF2-40B4-BE49-F238E27FC236}">
                <a16:creationId xmlns:a16="http://schemas.microsoft.com/office/drawing/2014/main" id="{16A70BB6-8ECD-D92D-370B-CDC9644DA40D}"/>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graphicFrame>
        <p:nvGraphicFramePr>
          <p:cNvPr id="5" name="Content Placeholder 4">
            <a:extLst>
              <a:ext uri="{FF2B5EF4-FFF2-40B4-BE49-F238E27FC236}">
                <a16:creationId xmlns:a16="http://schemas.microsoft.com/office/drawing/2014/main" id="{565A5451-B7B7-1B27-375D-127656F99BDB}"/>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599071802"/>
              </p:ext>
            </p:extLst>
          </p:nvPr>
        </p:nvGraphicFramePr>
        <p:xfrm>
          <a:off x="837406" y="1522168"/>
          <a:ext cx="10515600" cy="38395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3A63FEEA-B588-4A5E-EEE1-9C3F6E1B536F}"/>
              </a:ext>
            </a:extLst>
          </p:cNvPr>
          <p:cNvSpPr/>
          <p:nvPr/>
        </p:nvSpPr>
        <p:spPr>
          <a:xfrm>
            <a:off x="837406" y="5505903"/>
            <a:ext cx="10515600" cy="80781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algn="ctr"/>
            <a:r>
              <a:rPr lang="en-US" sz="2400" b="1">
                <a:solidFill>
                  <a:srgbClr val="FF0000"/>
                </a:solidFill>
                <a:latin typeface="Calibri"/>
                <a:ea typeface="Calibri"/>
                <a:cs typeface="Calibri"/>
              </a:rPr>
              <a:t>For ALL students: </a:t>
            </a:r>
            <a:r>
              <a:rPr lang="en-US" sz="2400">
                <a:solidFill>
                  <a:schemeClr val="tx1"/>
                </a:solidFill>
                <a:latin typeface="Calibri" panose="020F0502020204030204" pitchFamily="34" charset="0"/>
                <a:ea typeface="Calibri" panose="020F0502020204030204" pitchFamily="34" charset="0"/>
                <a:cs typeface="Calibri" panose="020F0502020204030204" pitchFamily="34" charset="0"/>
              </a:rPr>
              <a:t>Maintain sensitivity and awareness regarding student absences, lack of engagement, and behavioral challenges in school</a:t>
            </a:r>
            <a:endParaRPr lang="en-US" sz="2400">
              <a:solidFill>
                <a:schemeClr val="tx1"/>
              </a:solidFill>
              <a:latin typeface="Calibri"/>
              <a:ea typeface="Calibri"/>
              <a:cs typeface="Calibri"/>
            </a:endParaRPr>
          </a:p>
          <a:p>
            <a:pPr algn="ctr"/>
            <a:endParaRPr lang="en-US" sz="2800" b="1">
              <a:solidFill>
                <a:srgbClr val="FF0000"/>
              </a:solidFill>
              <a:latin typeface="Calibri" panose="020F0502020204030204" pitchFamily="34" charset="0"/>
              <a:ea typeface="Calibri" panose="020F0502020204030204" pitchFamily="34" charset="0"/>
              <a:cs typeface="Calibri" panose="020F0502020204030204" pitchFamily="34" charset="0"/>
            </a:endParaRPr>
          </a:p>
          <a:p>
            <a:endParaRPr lang="en-US" sz="2800"/>
          </a:p>
        </p:txBody>
      </p:sp>
    </p:spTree>
    <p:extLst>
      <p:ext uri="{BB962C8B-B14F-4D97-AF65-F5344CB8AC3E}">
        <p14:creationId xmlns:p14="http://schemas.microsoft.com/office/powerpoint/2010/main" val="938859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2EDC6-DE1A-117B-ED93-2A8AFAC626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69C5D0-6B5B-EA80-035C-FC6E9C16DEF5}"/>
              </a:ext>
            </a:extLst>
          </p:cNvPr>
          <p:cNvSpPr>
            <a:spLocks noGrp="1"/>
          </p:cNvSpPr>
          <p:nvPr>
            <p:ph type="title"/>
          </p:nvPr>
        </p:nvSpPr>
        <p:spPr>
          <a:xfrm>
            <a:off x="554736" y="790647"/>
            <a:ext cx="10602418" cy="731520"/>
          </a:xfrm>
        </p:spPr>
        <p:txBody>
          <a:bodyPr/>
          <a:lstStyle/>
          <a:p>
            <a:pPr algn="ctr"/>
            <a:r>
              <a:rPr lang="en-US" sz="3000" b="0">
                <a:solidFill>
                  <a:srgbClr val="FFFFFF"/>
                </a:solidFill>
                <a:latin typeface="Calibri"/>
                <a:ea typeface="Calibri"/>
                <a:cs typeface="Calibri"/>
              </a:rPr>
              <a:t>Scenario #5: Student Absenteeism Due to ICE Concerns</a:t>
            </a:r>
            <a:endParaRPr lang="en-US" sz="30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78961AFB-EC38-F25D-F493-9697274FFDC6}"/>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11" name="Content Placeholder 2">
            <a:extLst>
              <a:ext uri="{FF2B5EF4-FFF2-40B4-BE49-F238E27FC236}">
                <a16:creationId xmlns:a16="http://schemas.microsoft.com/office/drawing/2014/main" id="{057D6DC1-E203-0FFF-9D8A-0B2BC113175B}"/>
              </a:ext>
            </a:extLst>
          </p:cNvPr>
          <p:cNvSpPr>
            <a:spLocks noGrp="1"/>
          </p:cNvSpPr>
          <p:nvPr>
            <p:ph sz="quarter" idx="11"/>
          </p:nvPr>
        </p:nvSpPr>
        <p:spPr>
          <a:xfrm>
            <a:off x="554037" y="1833245"/>
            <a:ext cx="11082337" cy="4439677"/>
          </a:xfrm>
        </p:spPr>
        <p:txBody>
          <a:bodyPr vert="horz" wrap="square" lIns="0" tIns="0" rIns="0" bIns="0" rtlCol="0" anchor="t">
            <a:spAutoFit/>
          </a:bodyPr>
          <a:lstStyle/>
          <a:p>
            <a:pPr marL="114300" lvl="1" indent="0" algn="ctr">
              <a:spcBef>
                <a:spcPct val="20000"/>
              </a:spcBef>
              <a:spcAft>
                <a:spcPts val="0"/>
              </a:spcAft>
              <a:buNone/>
            </a:pPr>
            <a:r>
              <a:rPr lang="en-US" sz="3600"/>
              <a:t>A principal is aware that one of their students has uncertain legal status. Following several publicized instances of ICE presence in the neighborhood surrounding the school, this student has been consistently absent from class.</a:t>
            </a:r>
            <a:endParaRPr lang="en-US" sz="1200">
              <a:solidFill>
                <a:srgbClr val="000000"/>
              </a:solidFill>
              <a:latin typeface="Calibri"/>
              <a:ea typeface="Calibri"/>
              <a:cs typeface="Calibri"/>
            </a:endParaRPr>
          </a:p>
          <a:p>
            <a:pPr marL="231775" lvl="1" indent="0" algn="ctr">
              <a:spcBef>
                <a:spcPct val="20000"/>
              </a:spcBef>
              <a:spcAft>
                <a:spcPts val="0"/>
              </a:spcAft>
              <a:buNone/>
            </a:pPr>
            <a:r>
              <a:rPr lang="en-US" sz="4000" b="1">
                <a:solidFill>
                  <a:schemeClr val="accent1">
                    <a:lumMod val="60000"/>
                    <a:lumOff val="40000"/>
                  </a:schemeClr>
                </a:solidFill>
                <a:latin typeface="Calibri"/>
                <a:ea typeface="Calibri"/>
                <a:cs typeface="Calibri"/>
              </a:rPr>
              <a:t>What might school staff consider when faced with this situation?</a:t>
            </a:r>
            <a:endParaRPr lang="en-US" sz="3600" b="1">
              <a:solidFill>
                <a:schemeClr val="accent1">
                  <a:lumMod val="60000"/>
                  <a:lumOff val="40000"/>
                </a:schemeClr>
              </a:solidFill>
              <a:latin typeface="Calibri"/>
              <a:ea typeface="Calibri"/>
              <a:cs typeface="Calibri"/>
            </a:endParaRPr>
          </a:p>
          <a:p>
            <a:endParaRPr lang="en-US"/>
          </a:p>
        </p:txBody>
      </p:sp>
    </p:spTree>
    <p:extLst>
      <p:ext uri="{BB962C8B-B14F-4D97-AF65-F5344CB8AC3E}">
        <p14:creationId xmlns:p14="http://schemas.microsoft.com/office/powerpoint/2010/main" val="35675682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4E71F-C444-F763-0110-7A21950CD3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DC8E4F-9B15-15BA-253D-FE6F460573F3}"/>
              </a:ext>
            </a:extLst>
          </p:cNvPr>
          <p:cNvSpPr>
            <a:spLocks noGrp="1"/>
          </p:cNvSpPr>
          <p:nvPr>
            <p:ph type="title"/>
          </p:nvPr>
        </p:nvSpPr>
        <p:spPr>
          <a:xfrm>
            <a:off x="554736" y="790647"/>
            <a:ext cx="10602418" cy="731520"/>
          </a:xfrm>
        </p:spPr>
        <p:txBody>
          <a:bodyPr/>
          <a:lstStyle/>
          <a:p>
            <a:pPr algn="ctr"/>
            <a:r>
              <a:rPr lang="en-US" sz="3000" b="0">
                <a:solidFill>
                  <a:srgbClr val="FFFFFF"/>
                </a:solidFill>
                <a:latin typeface="Calibri"/>
                <a:ea typeface="Calibri"/>
                <a:cs typeface="Calibri"/>
              </a:rPr>
              <a:t>Scenario #5: Student Absenteeism Concerns</a:t>
            </a:r>
            <a:endParaRPr lang="en-US" sz="30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77199FB3-6C86-2B20-BB33-60AE178F88E3}"/>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4" name="Rectangle: Rounded Corners 3">
            <a:extLst>
              <a:ext uri="{FF2B5EF4-FFF2-40B4-BE49-F238E27FC236}">
                <a16:creationId xmlns:a16="http://schemas.microsoft.com/office/drawing/2014/main" id="{B3ED1A9D-2F80-8CFF-5BB5-87A19405D798}"/>
              </a:ext>
            </a:extLst>
          </p:cNvPr>
          <p:cNvSpPr/>
          <p:nvPr/>
        </p:nvSpPr>
        <p:spPr>
          <a:xfrm>
            <a:off x="553846" y="1489505"/>
            <a:ext cx="11071057" cy="1050686"/>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b="1">
                <a:solidFill>
                  <a:schemeClr val="tx1"/>
                </a:solidFill>
                <a:latin typeface="Calibri" panose="020F0502020204030204" pitchFamily="34" charset="0"/>
                <a:ea typeface="Calibri" panose="020F0502020204030204" pitchFamily="34" charset="0"/>
                <a:cs typeface="Calibri" panose="020F0502020204030204" pitchFamily="34" charset="0"/>
              </a:rPr>
              <a:t>How can schools support students who are absent from school because of a </a:t>
            </a:r>
          </a:p>
          <a:p>
            <a:pPr algn="ctr">
              <a:spcBef>
                <a:spcPts val="300"/>
              </a:spcBef>
              <a:spcAft>
                <a:spcPts val="300"/>
              </a:spcAft>
            </a:pPr>
            <a:r>
              <a:rPr lang="en-US" sz="2400" b="1">
                <a:solidFill>
                  <a:schemeClr val="tx1"/>
                </a:solidFill>
                <a:latin typeface="Calibri" panose="020F0502020204030204" pitchFamily="34" charset="0"/>
                <a:ea typeface="Calibri" panose="020F0502020204030204" pitchFamily="34" charset="0"/>
                <a:cs typeface="Calibri" panose="020F0502020204030204" pitchFamily="34" charset="0"/>
              </a:rPr>
              <a:t>fear of ICE presence?</a:t>
            </a:r>
          </a:p>
        </p:txBody>
      </p:sp>
      <p:sp>
        <p:nvSpPr>
          <p:cNvPr id="3" name="Content Placeholder 2">
            <a:extLst>
              <a:ext uri="{FF2B5EF4-FFF2-40B4-BE49-F238E27FC236}">
                <a16:creationId xmlns:a16="http://schemas.microsoft.com/office/drawing/2014/main" id="{2F30365E-A815-41E4-0202-A465469B2C14}"/>
              </a:ext>
            </a:extLst>
          </p:cNvPr>
          <p:cNvSpPr>
            <a:spLocks noGrp="1"/>
          </p:cNvSpPr>
          <p:nvPr>
            <p:ph sz="quarter" idx="11"/>
          </p:nvPr>
        </p:nvSpPr>
        <p:spPr>
          <a:xfrm>
            <a:off x="314681" y="2540191"/>
            <a:ext cx="11474548" cy="2769989"/>
          </a:xfrm>
        </p:spPr>
        <p:txBody>
          <a:bodyPr vert="horz" wrap="square" lIns="0" tIns="0" rIns="0" bIns="0" rtlCol="0" anchor="t">
            <a:spAutoFit/>
          </a:bodyPr>
          <a:lstStyle/>
          <a:p>
            <a:pPr lvl="1" indent="-342900">
              <a:spcBef>
                <a:spcPct val="20000"/>
              </a:spcBef>
              <a:spcAft>
                <a:spcPts val="0"/>
              </a:spcAft>
              <a:buFont typeface="Arial,Sans-Serif"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Offering tutoring/educational services.</a:t>
            </a:r>
          </a:p>
          <a:p>
            <a:pPr lvl="1" indent="-342900">
              <a:spcBef>
                <a:spcPct val="20000"/>
              </a:spcBef>
              <a:spcAft>
                <a:spcPts val="0"/>
              </a:spcAft>
              <a:buFont typeface="Arial,Sans-Serif"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Students who are not physically present at school but are receiving academic instruction from the district for at least half the school day should be counted as present.</a:t>
            </a:r>
          </a:p>
          <a:p>
            <a:pPr lvl="1" indent="-342900">
              <a:spcBef>
                <a:spcPct val="20000"/>
              </a:spcBef>
              <a:spcAft>
                <a:spcPts val="0"/>
              </a:spcAft>
              <a:buFont typeface="Arial,Sans-Serif" panose="05000000000000000000" pitchFamily="2" charset="2"/>
              <a:buChar char="•"/>
            </a:pPr>
            <a:r>
              <a:rPr lang="en-US" sz="2000" kern="100">
                <a:latin typeface="Calibri" panose="020F0502020204030204" pitchFamily="34" charset="0"/>
                <a:ea typeface="Calibri" panose="020F0502020204030204" pitchFamily="34" charset="0"/>
                <a:cs typeface="Calibri" panose="020F0502020204030204" pitchFamily="34" charset="0"/>
              </a:rPr>
              <a:t>Maintain sensitivity and awareness regarding student absences, lack of engagement, and behavioral challenges in school. </a:t>
            </a:r>
          </a:p>
          <a:p>
            <a:pPr lvl="1" indent="-342900">
              <a:spcBef>
                <a:spcPct val="20000"/>
              </a:spcBef>
              <a:spcAft>
                <a:spcPts val="0"/>
              </a:spcAft>
              <a:buFont typeface="Arial,Sans-Serif" panose="05000000000000000000" pitchFamily="2" charset="2"/>
              <a:buChar char="•"/>
            </a:pPr>
            <a:r>
              <a:rPr lang="en-US" sz="2000" kern="100">
                <a:latin typeface="Calibri" panose="020F0502020204030204" pitchFamily="34" charset="0"/>
                <a:ea typeface="Calibri" panose="020F0502020204030204" pitchFamily="34" charset="0"/>
                <a:cs typeface="Calibri" panose="020F0502020204030204" pitchFamily="34" charset="0"/>
              </a:rPr>
              <a:t>Conduct supportive outreach to families rather than filing CRAs for truancy.</a:t>
            </a:r>
          </a:p>
          <a:p>
            <a:pPr lvl="1" indent="-342900">
              <a:spcBef>
                <a:spcPct val="20000"/>
              </a:spcBef>
              <a:spcAft>
                <a:spcPts val="0"/>
              </a:spcAft>
              <a:buFont typeface="Arial,Sans-Serif" panose="05000000000000000000" pitchFamily="2" charset="2"/>
              <a:buChar char="•"/>
            </a:pPr>
            <a:r>
              <a:rPr lang="en-US" sz="2000" kern="100">
                <a:latin typeface="Calibri" panose="020F0502020204030204" pitchFamily="34" charset="0"/>
                <a:ea typeface="Calibri" panose="020F0502020204030204" pitchFamily="34" charset="0"/>
                <a:cs typeface="Calibri" panose="020F0502020204030204" pitchFamily="34" charset="0"/>
              </a:rPr>
              <a:t>Carefully consider the decision prior to filing a 51A.</a:t>
            </a:r>
          </a:p>
          <a:p>
            <a:pPr lvl="1" indent="-342900">
              <a:spcBef>
                <a:spcPct val="20000"/>
              </a:spcBef>
              <a:spcAft>
                <a:spcPts val="0"/>
              </a:spcAft>
              <a:buFont typeface="Arial,Sans-Serif" panose="05000000000000000000" pitchFamily="2" charset="2"/>
              <a:buChar char="•"/>
            </a:pPr>
            <a:r>
              <a:rPr lang="en-US" sz="2000" kern="100">
                <a:latin typeface="Calibri" panose="020F0502020204030204" pitchFamily="34" charset="0"/>
                <a:ea typeface="Calibri" panose="020F0502020204030204" pitchFamily="34" charset="0"/>
                <a:cs typeface="Calibri" panose="020F0502020204030204" pitchFamily="34" charset="0"/>
              </a:rPr>
              <a:t>Parent pick-up/transportation considerations</a:t>
            </a:r>
            <a:endParaRPr lang="en-US" sz="2400">
              <a:solidFill>
                <a:schemeClr val="accent1">
                  <a:lumMod val="60000"/>
                  <a:lumOff val="40000"/>
                </a:schemeClr>
              </a:solidFill>
              <a:latin typeface="Calibri"/>
              <a:ea typeface="Calibri"/>
              <a:cs typeface="Calibri"/>
            </a:endParaRPr>
          </a:p>
        </p:txBody>
      </p:sp>
      <p:sp>
        <p:nvSpPr>
          <p:cNvPr id="5" name="Rectangle: Rounded Corners 4">
            <a:extLst>
              <a:ext uri="{FF2B5EF4-FFF2-40B4-BE49-F238E27FC236}">
                <a16:creationId xmlns:a16="http://schemas.microsoft.com/office/drawing/2014/main" id="{F07DD5EA-4392-99D7-4F19-2CBD358DAE2A}"/>
              </a:ext>
            </a:extLst>
          </p:cNvPr>
          <p:cNvSpPr/>
          <p:nvPr/>
        </p:nvSpPr>
        <p:spPr>
          <a:xfrm>
            <a:off x="565318" y="5421735"/>
            <a:ext cx="11071057" cy="1050686"/>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300" lvl="1" algn="ctr">
              <a:spcBef>
                <a:spcPct val="20000"/>
              </a:spcBef>
              <a:spcAft>
                <a:spcPts val="0"/>
              </a:spcAft>
            </a:pPr>
            <a:r>
              <a:rPr lang="en-US" sz="2400" b="1">
                <a:solidFill>
                  <a:schemeClr val="tx1"/>
                </a:solidFill>
                <a:latin typeface="Calibri" panose="020F0502020204030204" pitchFamily="34" charset="0"/>
                <a:ea typeface="Calibri" panose="020F0502020204030204" pitchFamily="34" charset="0"/>
                <a:cs typeface="Calibri" panose="020F0502020204030204" pitchFamily="34" charset="0"/>
              </a:rPr>
              <a:t>Students who are not physically present but are receiving educational services for at least half the school day should be counted as </a:t>
            </a:r>
            <a:r>
              <a:rPr lang="en-US" sz="2400" b="1" u="sng">
                <a:solidFill>
                  <a:schemeClr val="tx1"/>
                </a:solidFill>
                <a:latin typeface="Calibri" panose="020F0502020204030204" pitchFamily="34" charset="0"/>
                <a:ea typeface="Calibri" panose="020F0502020204030204" pitchFamily="34" charset="0"/>
                <a:cs typeface="Calibri" panose="020F0502020204030204" pitchFamily="34" charset="0"/>
              </a:rPr>
              <a:t>present</a:t>
            </a:r>
            <a:r>
              <a:rPr lang="en-US" sz="2400" b="1">
                <a:solidFill>
                  <a:schemeClr val="tx1"/>
                </a:solidFill>
                <a:latin typeface="Calibri" panose="020F0502020204030204" pitchFamily="34" charset="0"/>
                <a:ea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6507450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D932-A98A-8831-AE47-DE4718DF47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12D864-BCFE-0483-D42A-FCFB10E35558}"/>
              </a:ext>
            </a:extLst>
          </p:cNvPr>
          <p:cNvSpPr>
            <a:spLocks noGrp="1"/>
          </p:cNvSpPr>
          <p:nvPr>
            <p:ph type="title"/>
          </p:nvPr>
        </p:nvSpPr>
        <p:spPr>
          <a:xfrm>
            <a:off x="554736" y="790647"/>
            <a:ext cx="10602418" cy="731520"/>
          </a:xfrm>
        </p:spPr>
        <p:txBody>
          <a:bodyPr/>
          <a:lstStyle/>
          <a:p>
            <a:pPr algn="ctr"/>
            <a:r>
              <a:rPr lang="en-US" sz="3000" b="0">
                <a:solidFill>
                  <a:srgbClr val="FFFFFF"/>
                </a:solidFill>
                <a:latin typeface="Calibri"/>
                <a:ea typeface="Calibri"/>
                <a:cs typeface="Calibri"/>
              </a:rPr>
              <a:t>Scenario #6: SRO Involvement</a:t>
            </a:r>
            <a:endParaRPr lang="en-US" sz="3000"/>
          </a:p>
          <a:p>
            <a:pPr algn="ctr"/>
            <a:endParaRPr lang="en-US" sz="3000" b="0">
              <a:solidFill>
                <a:srgbClr val="FFFFFF"/>
              </a:solidFill>
              <a:latin typeface="Calibri"/>
              <a:ea typeface="Calibri"/>
              <a:cs typeface="Calibri"/>
            </a:endParaRPr>
          </a:p>
          <a:p>
            <a:endParaRPr lang="en-US">
              <a:cs typeface="Arial"/>
            </a:endParaRPr>
          </a:p>
        </p:txBody>
      </p:sp>
      <p:sp>
        <p:nvSpPr>
          <p:cNvPr id="6" name="Text Placeholder 5">
            <a:extLst>
              <a:ext uri="{FF2B5EF4-FFF2-40B4-BE49-F238E27FC236}">
                <a16:creationId xmlns:a16="http://schemas.microsoft.com/office/drawing/2014/main" id="{2F0F50E0-57DF-24C6-1417-25D39918C021}"/>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9" name="Content Placeholder 2">
            <a:extLst>
              <a:ext uri="{FF2B5EF4-FFF2-40B4-BE49-F238E27FC236}">
                <a16:creationId xmlns:a16="http://schemas.microsoft.com/office/drawing/2014/main" id="{CD3389D5-45BD-4A70-4FB7-E102BF396EE0}"/>
              </a:ext>
            </a:extLst>
          </p:cNvPr>
          <p:cNvSpPr>
            <a:spLocks noGrp="1"/>
          </p:cNvSpPr>
          <p:nvPr>
            <p:ph sz="quarter" idx="11"/>
          </p:nvPr>
        </p:nvSpPr>
        <p:spPr>
          <a:xfrm>
            <a:off x="554037" y="1833245"/>
            <a:ext cx="11082337" cy="4993675"/>
          </a:xfrm>
        </p:spPr>
        <p:txBody>
          <a:bodyPr vert="horz" wrap="square" lIns="0" tIns="0" rIns="0" bIns="0" rtlCol="0" anchor="t">
            <a:spAutoFit/>
          </a:bodyPr>
          <a:lstStyle/>
          <a:p>
            <a:pPr marL="114300" lvl="1" indent="0" algn="ctr">
              <a:spcBef>
                <a:spcPct val="20000"/>
              </a:spcBef>
              <a:spcAft>
                <a:spcPts val="0"/>
              </a:spcAft>
              <a:buNone/>
            </a:pPr>
            <a:r>
              <a:rPr lang="en-US" sz="3600">
                <a:solidFill>
                  <a:srgbClr val="000000"/>
                </a:solidFill>
                <a:latin typeface="Calibri"/>
                <a:ea typeface="Calibri"/>
                <a:cs typeface="Calibri"/>
              </a:rPr>
              <a:t>Two students at a high school are involved in a verbal altercation. One of the students pushes and throws a towel at the other student. The high school has an SRO on site, who arrives to the scene after the fight has ended and the students have separated. Unbeknownst to the SRO, one of the students has uncertain immigration status.</a:t>
            </a:r>
            <a:endParaRPr lang="en-US" sz="1200">
              <a:solidFill>
                <a:srgbClr val="000000"/>
              </a:solidFill>
              <a:latin typeface="Calibri"/>
              <a:ea typeface="Calibri"/>
              <a:cs typeface="Calibri"/>
            </a:endParaRPr>
          </a:p>
          <a:p>
            <a:pPr marL="231775" lvl="1" indent="0" algn="ctr">
              <a:spcBef>
                <a:spcPct val="20000"/>
              </a:spcBef>
              <a:spcAft>
                <a:spcPts val="0"/>
              </a:spcAft>
              <a:buNone/>
            </a:pPr>
            <a:r>
              <a:rPr lang="en-US" sz="4000" b="1">
                <a:solidFill>
                  <a:schemeClr val="accent1">
                    <a:lumMod val="60000"/>
                    <a:lumOff val="40000"/>
                  </a:schemeClr>
                </a:solidFill>
                <a:latin typeface="Calibri"/>
                <a:ea typeface="Calibri"/>
                <a:cs typeface="Calibri"/>
              </a:rPr>
              <a:t>What might school staff consider when faced with this situation?</a:t>
            </a:r>
            <a:endParaRPr lang="en-US" sz="3600" b="1">
              <a:solidFill>
                <a:schemeClr val="accent1">
                  <a:lumMod val="60000"/>
                  <a:lumOff val="40000"/>
                </a:schemeClr>
              </a:solidFill>
              <a:latin typeface="Calibri"/>
              <a:ea typeface="Calibri"/>
              <a:cs typeface="Calibri"/>
            </a:endParaRPr>
          </a:p>
          <a:p>
            <a:endParaRPr lang="en-US"/>
          </a:p>
        </p:txBody>
      </p:sp>
    </p:spTree>
    <p:extLst>
      <p:ext uri="{BB962C8B-B14F-4D97-AF65-F5344CB8AC3E}">
        <p14:creationId xmlns:p14="http://schemas.microsoft.com/office/powerpoint/2010/main" val="1367326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5AE2B-3CC2-E969-8BA8-77FE0F0C89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19E33A-8D37-2262-9713-DA0884C38CE1}"/>
              </a:ext>
            </a:extLst>
          </p:cNvPr>
          <p:cNvSpPr>
            <a:spLocks noGrp="1"/>
          </p:cNvSpPr>
          <p:nvPr>
            <p:ph type="title"/>
          </p:nvPr>
        </p:nvSpPr>
        <p:spPr>
          <a:xfrm>
            <a:off x="554736" y="790647"/>
            <a:ext cx="10602418" cy="731520"/>
          </a:xfrm>
        </p:spPr>
        <p:txBody>
          <a:bodyPr/>
          <a:lstStyle/>
          <a:p>
            <a:pPr algn="ctr"/>
            <a:r>
              <a:rPr lang="en-US" sz="3000" b="0" dirty="0">
                <a:solidFill>
                  <a:srgbClr val="FFFFFF"/>
                </a:solidFill>
                <a:latin typeface="Calibri"/>
                <a:ea typeface="Calibri"/>
                <a:cs typeface="Calibri"/>
              </a:rPr>
              <a:t>Scenario #6: SRO Involvement  </a:t>
            </a:r>
            <a:endParaRPr lang="en-US" sz="3000" dirty="0"/>
          </a:p>
          <a:p>
            <a:pPr algn="ctr"/>
            <a:endParaRPr lang="en-US" sz="3000" b="0" dirty="0">
              <a:solidFill>
                <a:srgbClr val="FFFFFF"/>
              </a:solidFill>
              <a:latin typeface="Calibri"/>
              <a:ea typeface="Calibri"/>
              <a:cs typeface="Calibri"/>
            </a:endParaRPr>
          </a:p>
          <a:p>
            <a:endParaRPr lang="en-US" dirty="0">
              <a:cs typeface="Arial"/>
            </a:endParaRPr>
          </a:p>
        </p:txBody>
      </p:sp>
      <p:sp>
        <p:nvSpPr>
          <p:cNvPr id="6" name="Text Placeholder 5">
            <a:extLst>
              <a:ext uri="{FF2B5EF4-FFF2-40B4-BE49-F238E27FC236}">
                <a16:creationId xmlns:a16="http://schemas.microsoft.com/office/drawing/2014/main" id="{4D1DA6A0-A27B-B3F4-1D8A-EDC7AABA99DC}"/>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5" name="Rectangle: Rounded Corners 4">
            <a:extLst>
              <a:ext uri="{FF2B5EF4-FFF2-40B4-BE49-F238E27FC236}">
                <a16:creationId xmlns:a16="http://schemas.microsoft.com/office/drawing/2014/main" id="{972B128F-D2BE-737C-AE2A-0AEB1940C865}"/>
              </a:ext>
            </a:extLst>
          </p:cNvPr>
          <p:cNvSpPr/>
          <p:nvPr/>
        </p:nvSpPr>
        <p:spPr>
          <a:xfrm>
            <a:off x="565318" y="1441330"/>
            <a:ext cx="11071057" cy="1103994"/>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b="1">
                <a:solidFill>
                  <a:schemeClr val="tx1"/>
                </a:solidFill>
                <a:latin typeface="Calibri" panose="020F0502020204030204" pitchFamily="34" charset="0"/>
                <a:ea typeface="Calibri" panose="020F0502020204030204" pitchFamily="34" charset="0"/>
                <a:cs typeface="Calibri" panose="020F0502020204030204" pitchFamily="34" charset="0"/>
              </a:rPr>
              <a:t>First, a preliminary consideration: </a:t>
            </a:r>
          </a:p>
          <a:p>
            <a:pPr algn="ctr">
              <a:spcBef>
                <a:spcPts val="300"/>
              </a:spcBef>
              <a:spcAft>
                <a:spcPts val="300"/>
              </a:spcAft>
            </a:pPr>
            <a:r>
              <a:rPr lang="en-US" sz="2200" b="1">
                <a:solidFill>
                  <a:schemeClr val="tx1"/>
                </a:solidFill>
                <a:latin typeface="Calibri" panose="020F0502020204030204" pitchFamily="34" charset="0"/>
                <a:ea typeface="Calibri" panose="020F0502020204030204" pitchFamily="34" charset="0"/>
                <a:cs typeface="Calibri" panose="020F0502020204030204" pitchFamily="34" charset="0"/>
              </a:rPr>
              <a:t>Is SRO involvement appropriate here under state law?</a:t>
            </a:r>
          </a:p>
        </p:txBody>
      </p:sp>
      <p:sp>
        <p:nvSpPr>
          <p:cNvPr id="7" name="Content Placeholder 2">
            <a:extLst>
              <a:ext uri="{FF2B5EF4-FFF2-40B4-BE49-F238E27FC236}">
                <a16:creationId xmlns:a16="http://schemas.microsoft.com/office/drawing/2014/main" id="{9919241B-A0A0-5A24-AD4E-9926AF465DC2}"/>
              </a:ext>
            </a:extLst>
          </p:cNvPr>
          <p:cNvSpPr>
            <a:spLocks noGrp="1"/>
          </p:cNvSpPr>
          <p:nvPr>
            <p:ph sz="quarter" idx="11"/>
          </p:nvPr>
        </p:nvSpPr>
        <p:spPr>
          <a:xfrm>
            <a:off x="565318" y="2608704"/>
            <a:ext cx="11082528" cy="4447371"/>
          </a:xfrm>
        </p:spPr>
        <p:txBody>
          <a:bodyPr/>
          <a:lstStyle/>
          <a:p>
            <a:r>
              <a:rPr lang="en-US" sz="2200">
                <a:latin typeface="Calibri" panose="020F0502020204030204" pitchFamily="34" charset="0"/>
                <a:ea typeface="Calibri" panose="020F0502020204030204" pitchFamily="34" charset="0"/>
                <a:cs typeface="Calibri" panose="020F0502020204030204" pitchFamily="34" charset="0"/>
              </a:rPr>
              <a:t>Ensure that your district has an SRO MOU that is compliant with the statewide </a:t>
            </a:r>
            <a:r>
              <a:rPr lang="en-US" sz="2200">
                <a:latin typeface="Calibri" panose="020F0502020204030204" pitchFamily="34" charset="0"/>
                <a:ea typeface="Calibri" panose="020F0502020204030204" pitchFamily="34" charset="0"/>
                <a:cs typeface="Calibri" panose="020F0502020204030204" pitchFamily="34" charset="0"/>
                <a:hlinkClick r:id="rId2"/>
              </a:rPr>
              <a:t>Model SRO MOU</a:t>
            </a:r>
            <a:r>
              <a:rPr lang="en-US" sz="2200">
                <a:latin typeface="Calibri" panose="020F0502020204030204" pitchFamily="34" charset="0"/>
                <a:ea typeface="Calibri" panose="020F0502020204030204" pitchFamily="34" charset="0"/>
                <a:cs typeface="Calibri" panose="020F0502020204030204" pitchFamily="34" charset="0"/>
              </a:rPr>
              <a:t>. Compliance is mandatory—the model is a </a:t>
            </a:r>
            <a:r>
              <a:rPr lang="en-US" sz="2200" b="1">
                <a:latin typeface="Calibri" panose="020F0502020204030204" pitchFamily="34" charset="0"/>
                <a:ea typeface="Calibri" panose="020F0502020204030204" pitchFamily="34" charset="0"/>
                <a:cs typeface="Calibri" panose="020F0502020204030204" pitchFamily="34" charset="0"/>
              </a:rPr>
              <a:t>minimum requirement</a:t>
            </a:r>
            <a:r>
              <a:rPr lang="en-US" sz="2200">
                <a:latin typeface="Calibri" panose="020F0502020204030204" pitchFamily="34" charset="0"/>
                <a:ea typeface="Calibri" panose="020F0502020204030204" pitchFamily="34" charset="0"/>
                <a:cs typeface="Calibri" panose="020F0502020204030204" pitchFamily="34" charset="0"/>
              </a:rPr>
              <a:t>.</a:t>
            </a:r>
          </a:p>
          <a:p>
            <a:r>
              <a:rPr lang="en-US" sz="2200">
                <a:latin typeface="Calibri" panose="020F0502020204030204" pitchFamily="34" charset="0"/>
                <a:ea typeface="Calibri" panose="020F0502020204030204" pitchFamily="34" charset="0"/>
                <a:cs typeface="Calibri" panose="020F0502020204030204" pitchFamily="34" charset="0"/>
              </a:rPr>
              <a:t>SRO involvement only permitted as a last resort to ensure safety in response to imminent threat of substantial harm.</a:t>
            </a:r>
          </a:p>
          <a:p>
            <a:r>
              <a:rPr lang="en-US" sz="2200">
                <a:latin typeface="Calibri" panose="020F0502020204030204" pitchFamily="34" charset="0"/>
                <a:ea typeface="Calibri" panose="020F0502020204030204" pitchFamily="34" charset="0"/>
                <a:cs typeface="Calibri" panose="020F0502020204030204" pitchFamily="34" charset="0"/>
              </a:rPr>
              <a:t>School staff shall not ask an SRO to serve as a school disciplinarian or enforcer of school regulations. It may be appropriate for school administrators, rather than SROs to handle low-level offenses.</a:t>
            </a:r>
          </a:p>
          <a:p>
            <a:pPr>
              <a:buFont typeface="Arial" panose="020B0604020202020204" pitchFamily="34" charset="0"/>
              <a:buChar char="•"/>
            </a:pPr>
            <a:r>
              <a:rPr lang="en-US" sz="2200">
                <a:latin typeface="Calibri" panose="020F0502020204030204" pitchFamily="34" charset="0"/>
                <a:ea typeface="Calibri" panose="020F0502020204030204" pitchFamily="34" charset="0"/>
                <a:cs typeface="Calibri" panose="020F0502020204030204" pitchFamily="34" charset="0"/>
              </a:rPr>
              <a:t>Schools and SROs shall not disclose a student’s immigration status except as required by law.</a:t>
            </a:r>
          </a:p>
          <a:p>
            <a:pPr>
              <a:buFont typeface="Arial" panose="020B0604020202020204" pitchFamily="34" charset="0"/>
              <a:buChar char="•"/>
            </a:pPr>
            <a:r>
              <a:rPr lang="en-US" sz="2200">
                <a:latin typeface="Calibri" panose="020F0502020204030204" pitchFamily="34" charset="0"/>
                <a:ea typeface="Calibri" panose="020F0502020204030204" pitchFamily="34" charset="0"/>
                <a:cs typeface="Calibri" panose="020F0502020204030204" pitchFamily="34" charset="0"/>
              </a:rPr>
              <a:t>Arrests at school and bringing students directly from school to the police station should be avoided wherever possible. A summons is the preferred method for bringing all juveniles to court. </a:t>
            </a:r>
          </a:p>
          <a:p>
            <a:pPr marL="0" indent="0">
              <a:buNone/>
            </a:pPr>
            <a:endParaRPr lang="en-US" sz="220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743830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8214D-17BC-44E7-F49A-C982A5D277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585E0E-F106-A827-858C-5F2100B16511}"/>
              </a:ext>
            </a:extLst>
          </p:cNvPr>
          <p:cNvSpPr>
            <a:spLocks noGrp="1"/>
          </p:cNvSpPr>
          <p:nvPr>
            <p:ph type="title"/>
          </p:nvPr>
        </p:nvSpPr>
        <p:spPr>
          <a:xfrm>
            <a:off x="554736" y="790647"/>
            <a:ext cx="10602418" cy="731520"/>
          </a:xfrm>
        </p:spPr>
        <p:txBody>
          <a:bodyPr/>
          <a:lstStyle/>
          <a:p>
            <a:pPr algn="ctr"/>
            <a:r>
              <a:rPr lang="en-US" sz="3000" b="0" dirty="0">
                <a:solidFill>
                  <a:srgbClr val="FFFFFF"/>
                </a:solidFill>
                <a:latin typeface="Calibri"/>
                <a:ea typeface="Calibri"/>
                <a:cs typeface="Calibri"/>
              </a:rPr>
              <a:t>Scenario #6: SRO Involvement   </a:t>
            </a:r>
            <a:endParaRPr lang="en-US" sz="3000" dirty="0"/>
          </a:p>
          <a:p>
            <a:pPr algn="ctr"/>
            <a:endParaRPr lang="en-US" sz="3000" b="0" dirty="0">
              <a:solidFill>
                <a:srgbClr val="FFFFFF"/>
              </a:solidFill>
              <a:latin typeface="Calibri"/>
              <a:ea typeface="Calibri"/>
              <a:cs typeface="Calibri"/>
            </a:endParaRPr>
          </a:p>
          <a:p>
            <a:endParaRPr lang="en-US" dirty="0">
              <a:cs typeface="Arial"/>
            </a:endParaRPr>
          </a:p>
        </p:txBody>
      </p:sp>
      <p:sp>
        <p:nvSpPr>
          <p:cNvPr id="6" name="Text Placeholder 5">
            <a:extLst>
              <a:ext uri="{FF2B5EF4-FFF2-40B4-BE49-F238E27FC236}">
                <a16:creationId xmlns:a16="http://schemas.microsoft.com/office/drawing/2014/main" id="{13726664-66BD-F1DD-F739-FB4FA14CFD21}"/>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5" name="Rectangle: Rounded Corners 4">
            <a:extLst>
              <a:ext uri="{FF2B5EF4-FFF2-40B4-BE49-F238E27FC236}">
                <a16:creationId xmlns:a16="http://schemas.microsoft.com/office/drawing/2014/main" id="{B51B2F87-3A39-D489-5AA8-BE71E8002486}"/>
              </a:ext>
            </a:extLst>
          </p:cNvPr>
          <p:cNvSpPr/>
          <p:nvPr/>
        </p:nvSpPr>
        <p:spPr>
          <a:xfrm>
            <a:off x="565318" y="1441330"/>
            <a:ext cx="11071057" cy="731520"/>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200" b="1">
                <a:solidFill>
                  <a:schemeClr val="tx1"/>
                </a:solidFill>
                <a:latin typeface="Calibri" panose="020F0502020204030204" pitchFamily="34" charset="0"/>
                <a:ea typeface="Calibri" panose="020F0502020204030204" pitchFamily="34" charset="0"/>
                <a:cs typeface="Calibri" panose="020F0502020204030204" pitchFamily="34" charset="0"/>
              </a:rPr>
              <a:t>Further Considerations regarding SRO involvement/School-Based Arrests</a:t>
            </a:r>
          </a:p>
        </p:txBody>
      </p:sp>
      <p:sp>
        <p:nvSpPr>
          <p:cNvPr id="7" name="Content Placeholder 2">
            <a:extLst>
              <a:ext uri="{FF2B5EF4-FFF2-40B4-BE49-F238E27FC236}">
                <a16:creationId xmlns:a16="http://schemas.microsoft.com/office/drawing/2014/main" id="{0F970F00-9DEC-8CDC-3541-9BD7270C8656}"/>
              </a:ext>
            </a:extLst>
          </p:cNvPr>
          <p:cNvSpPr>
            <a:spLocks noGrp="1"/>
          </p:cNvSpPr>
          <p:nvPr>
            <p:ph sz="quarter" idx="11"/>
          </p:nvPr>
        </p:nvSpPr>
        <p:spPr>
          <a:xfrm>
            <a:off x="565318" y="2362200"/>
            <a:ext cx="11082528" cy="3593291"/>
          </a:xfrm>
        </p:spPr>
        <p:txBody>
          <a:bodyPr/>
          <a:lstStyle/>
          <a:p>
            <a:pPr>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If an SRO or other police officer becomes involved and a student is taken to the police station and fingerprinted, their information is automatically shared with federal authorities including ICE.</a:t>
            </a:r>
          </a:p>
          <a:p>
            <a:pPr>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Strategies that can be effective in some circumstances to maintain safety: </a:t>
            </a:r>
          </a:p>
          <a:p>
            <a:pPr marL="742950" lvl="1" indent="-285750">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Administrative search</a:t>
            </a:r>
          </a:p>
          <a:p>
            <a:pPr marL="742950" lvl="1" indent="-285750">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Ensure safety and contact parents</a:t>
            </a:r>
          </a:p>
          <a:p>
            <a:pPr marL="742950" lvl="1" indent="-285750">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Involve community-based youth-serving organizations </a:t>
            </a:r>
          </a:p>
          <a:p>
            <a:pPr>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There is no requirement to have SROs on site at schools. School districts decide what is best for their community.</a:t>
            </a:r>
          </a:p>
        </p:txBody>
      </p:sp>
    </p:spTree>
    <p:extLst>
      <p:ext uri="{BB962C8B-B14F-4D97-AF65-F5344CB8AC3E}">
        <p14:creationId xmlns:p14="http://schemas.microsoft.com/office/powerpoint/2010/main" val="2048083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30681-DAB4-609B-6CA3-8FB8122EE0F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7DD6FB9-8B6C-994A-7E0F-506A0E2187F1}"/>
              </a:ext>
            </a:extLst>
          </p:cNvPr>
          <p:cNvSpPr>
            <a:spLocks noGrp="1"/>
          </p:cNvSpPr>
          <p:nvPr>
            <p:ph type="title"/>
          </p:nvPr>
        </p:nvSpPr>
        <p:spPr/>
        <p:txBody>
          <a:bodyPr wrap="square" anchor="b">
            <a:normAutofit/>
          </a:bodyPr>
          <a:lstStyle/>
          <a:p>
            <a:r>
              <a:rPr lang="en-US"/>
              <a:t>Additional Resources</a:t>
            </a:r>
          </a:p>
        </p:txBody>
      </p:sp>
      <p:sp>
        <p:nvSpPr>
          <p:cNvPr id="2" name="Subtitle 1">
            <a:extLst>
              <a:ext uri="{FF2B5EF4-FFF2-40B4-BE49-F238E27FC236}">
                <a16:creationId xmlns:a16="http://schemas.microsoft.com/office/drawing/2014/main" id="{6AE4A197-94B6-75B8-724F-AD410281C79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0956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8DB95-F6D4-4802-2EB4-4F5924F5120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337A7E2-A2F9-CF5C-B10C-5079996EAA35}"/>
              </a:ext>
            </a:extLst>
          </p:cNvPr>
          <p:cNvSpPr>
            <a:spLocks noGrp="1"/>
          </p:cNvSpPr>
          <p:nvPr>
            <p:ph type="title"/>
          </p:nvPr>
        </p:nvSpPr>
        <p:spPr/>
        <p:txBody>
          <a:bodyPr wrap="square" anchor="b">
            <a:normAutofit/>
          </a:bodyPr>
          <a:lstStyle/>
          <a:p>
            <a:r>
              <a:rPr lang="en-US"/>
              <a:t>Refresher: Know Your Rights</a:t>
            </a:r>
          </a:p>
        </p:txBody>
      </p:sp>
      <p:sp>
        <p:nvSpPr>
          <p:cNvPr id="6" name="Text Placeholder 5">
            <a:extLst>
              <a:ext uri="{FF2B5EF4-FFF2-40B4-BE49-F238E27FC236}">
                <a16:creationId xmlns:a16="http://schemas.microsoft.com/office/drawing/2014/main" id="{D0F1584F-1E2F-2BBC-29EB-4588701486EF}"/>
              </a:ext>
            </a:extLst>
          </p:cNvPr>
          <p:cNvSpPr>
            <a:spLocks noGrp="1"/>
          </p:cNvSpPr>
          <p:nvPr>
            <p:ph type="subTitle" idx="1"/>
          </p:nvPr>
        </p:nvSpPr>
        <p:spPr>
          <a:xfrm>
            <a:off x="2893929" y="3454055"/>
            <a:ext cx="8181508" cy="2739916"/>
          </a:xfrm>
        </p:spPr>
        <p:txBody>
          <a:bodyPr wrap="square">
            <a:normAutofit/>
          </a:bodyPr>
          <a:lstStyle/>
          <a:p>
            <a:r>
              <a:rPr lang="en-US"/>
              <a:t>Overview of ICE Authority</a:t>
            </a:r>
          </a:p>
          <a:p>
            <a:r>
              <a:rPr lang="en-US"/>
              <a:t>School-Specific Considerations</a:t>
            </a:r>
          </a:p>
        </p:txBody>
      </p:sp>
    </p:spTree>
    <p:extLst>
      <p:ext uri="{BB962C8B-B14F-4D97-AF65-F5344CB8AC3E}">
        <p14:creationId xmlns:p14="http://schemas.microsoft.com/office/powerpoint/2010/main" val="11002643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08C330-41B7-092A-5A6F-949FBD09B7F1}"/>
            </a:ext>
          </a:extLst>
        </p:cNvPr>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31F88F62-D5AA-5A79-D2A7-F31EDA28A0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8E4A92F1-8627-3133-8D9B-90A3D76C0B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21" name="Group 20">
            <a:extLst>
              <a:ext uri="{FF2B5EF4-FFF2-40B4-BE49-F238E27FC236}">
                <a16:creationId xmlns:a16="http://schemas.microsoft.com/office/drawing/2014/main" id="{1318A478-18F4-57C2-1F30-7B2C6E64988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137" y="0"/>
            <a:ext cx="5646974" cy="6483075"/>
            <a:chOff x="-19221" y="0"/>
            <a:chExt cx="5646974" cy="6483075"/>
          </a:xfrm>
        </p:grpSpPr>
        <p:sp>
          <p:nvSpPr>
            <p:cNvPr id="22" name="Freeform: Shape 21">
              <a:extLst>
                <a:ext uri="{FF2B5EF4-FFF2-40B4-BE49-F238E27FC236}">
                  <a16:creationId xmlns:a16="http://schemas.microsoft.com/office/drawing/2014/main" id="{FC624B8F-3FF6-DD50-1195-EE283FCD36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16610"/>
              <a:ext cx="5535001" cy="6250127"/>
            </a:xfrm>
            <a:custGeom>
              <a:avLst/>
              <a:gdLst>
                <a:gd name="connsiteX0" fmla="*/ 2510242 w 5535001"/>
                <a:gd name="connsiteY0" fmla="*/ 174 h 6250127"/>
                <a:gd name="connsiteX1" fmla="*/ 2550551 w 5535001"/>
                <a:gd name="connsiteY1" fmla="*/ 510 h 6250127"/>
                <a:gd name="connsiteX2" fmla="*/ 2629490 w 5535001"/>
                <a:gd name="connsiteY2" fmla="*/ 3757 h 6250127"/>
                <a:gd name="connsiteX3" fmla="*/ 2708317 w 5535001"/>
                <a:gd name="connsiteY3" fmla="*/ 7229 h 6250127"/>
                <a:gd name="connsiteX4" fmla="*/ 2787256 w 5535001"/>
                <a:gd name="connsiteY4" fmla="*/ 14619 h 6250127"/>
                <a:gd name="connsiteX5" fmla="*/ 3408467 w 5535001"/>
                <a:gd name="connsiteY5" fmla="*/ 145064 h 6250127"/>
                <a:gd name="connsiteX6" fmla="*/ 3557723 w 5535001"/>
                <a:gd name="connsiteY6" fmla="*/ 199593 h 6250127"/>
                <a:gd name="connsiteX7" fmla="*/ 3594337 w 5535001"/>
                <a:gd name="connsiteY7" fmla="*/ 214597 h 6250127"/>
                <a:gd name="connsiteX8" fmla="*/ 3630616 w 5535001"/>
                <a:gd name="connsiteY8" fmla="*/ 230385 h 6250127"/>
                <a:gd name="connsiteX9" fmla="*/ 3703172 w 5535001"/>
                <a:gd name="connsiteY9" fmla="*/ 262073 h 6250127"/>
                <a:gd name="connsiteX10" fmla="*/ 3739003 w 5535001"/>
                <a:gd name="connsiteY10" fmla="*/ 278756 h 6250127"/>
                <a:gd name="connsiteX11" fmla="*/ 3756806 w 5535001"/>
                <a:gd name="connsiteY11" fmla="*/ 287266 h 6250127"/>
                <a:gd name="connsiteX12" fmla="*/ 3773714 w 5535001"/>
                <a:gd name="connsiteY12" fmla="*/ 297567 h 6250127"/>
                <a:gd name="connsiteX13" fmla="*/ 3840784 w 5535001"/>
                <a:gd name="connsiteY13" fmla="*/ 339332 h 6250127"/>
                <a:gd name="connsiteX14" fmla="*/ 3873927 w 5535001"/>
                <a:gd name="connsiteY14" fmla="*/ 360495 h 6250127"/>
                <a:gd name="connsiteX15" fmla="*/ 3906062 w 5535001"/>
                <a:gd name="connsiteY15" fmla="*/ 383001 h 6250127"/>
                <a:gd name="connsiteX16" fmla="*/ 3969662 w 5535001"/>
                <a:gd name="connsiteY16" fmla="*/ 428572 h 6250127"/>
                <a:gd name="connsiteX17" fmla="*/ 4423029 w 5535001"/>
                <a:gd name="connsiteY17" fmla="*/ 837600 h 6250127"/>
                <a:gd name="connsiteX18" fmla="*/ 4474647 w 5535001"/>
                <a:gd name="connsiteY18" fmla="*/ 891569 h 6250127"/>
                <a:gd name="connsiteX19" fmla="*/ 4524250 w 5535001"/>
                <a:gd name="connsiteY19" fmla="*/ 946883 h 6250127"/>
                <a:gd name="connsiteX20" fmla="*/ 4573965 w 5535001"/>
                <a:gd name="connsiteY20" fmla="*/ 1001748 h 6250127"/>
                <a:gd name="connsiteX21" fmla="*/ 4622224 w 5535001"/>
                <a:gd name="connsiteY21" fmla="*/ 1057509 h 6250127"/>
                <a:gd name="connsiteX22" fmla="*/ 4717510 w 5535001"/>
                <a:gd name="connsiteY22" fmla="*/ 1169143 h 6250127"/>
                <a:gd name="connsiteX23" fmla="*/ 4764986 w 5535001"/>
                <a:gd name="connsiteY23" fmla="*/ 1224681 h 6250127"/>
                <a:gd name="connsiteX24" fmla="*/ 4813021 w 5535001"/>
                <a:gd name="connsiteY24" fmla="*/ 1279994 h 6250127"/>
                <a:gd name="connsiteX25" fmla="*/ 5001915 w 5535001"/>
                <a:gd name="connsiteY25" fmla="*/ 1506846 h 6250127"/>
                <a:gd name="connsiteX26" fmla="*/ 5170542 w 5535001"/>
                <a:gd name="connsiteY26" fmla="*/ 1751165 h 6250127"/>
                <a:gd name="connsiteX27" fmla="*/ 5428969 w 5535001"/>
                <a:gd name="connsiteY27" fmla="*/ 2293660 h 6250127"/>
                <a:gd name="connsiteX28" fmla="*/ 5534893 w 5535001"/>
                <a:gd name="connsiteY28" fmla="*/ 2899307 h 6250127"/>
                <a:gd name="connsiteX29" fmla="*/ 5508804 w 5535001"/>
                <a:gd name="connsiteY29" fmla="*/ 3211144 h 6250127"/>
                <a:gd name="connsiteX30" fmla="*/ 5426282 w 5535001"/>
                <a:gd name="connsiteY30" fmla="*/ 3513352 h 6250127"/>
                <a:gd name="connsiteX31" fmla="*/ 5248250 w 5535001"/>
                <a:gd name="connsiteY31" fmla="*/ 4030542 h 6250127"/>
                <a:gd name="connsiteX32" fmla="*/ 5208612 w 5535001"/>
                <a:gd name="connsiteY32" fmla="*/ 4161771 h 6250127"/>
                <a:gd name="connsiteX33" fmla="*/ 5170318 w 5535001"/>
                <a:gd name="connsiteY33" fmla="*/ 4294680 h 6250127"/>
                <a:gd name="connsiteX34" fmla="*/ 5132248 w 5535001"/>
                <a:gd name="connsiteY34" fmla="*/ 4430164 h 6250127"/>
                <a:gd name="connsiteX35" fmla="*/ 5112765 w 5535001"/>
                <a:gd name="connsiteY35" fmla="*/ 4498914 h 6250127"/>
                <a:gd name="connsiteX36" fmla="*/ 5091715 w 5535001"/>
                <a:gd name="connsiteY36" fmla="*/ 4569119 h 6250127"/>
                <a:gd name="connsiteX37" fmla="*/ 5068985 w 5535001"/>
                <a:gd name="connsiteY37" fmla="*/ 4640220 h 6250127"/>
                <a:gd name="connsiteX38" fmla="*/ 5043904 w 5535001"/>
                <a:gd name="connsiteY38" fmla="*/ 4712105 h 6250127"/>
                <a:gd name="connsiteX39" fmla="*/ 5015799 w 5535001"/>
                <a:gd name="connsiteY39" fmla="*/ 4784438 h 6250127"/>
                <a:gd name="connsiteX40" fmla="*/ 4982880 w 5535001"/>
                <a:gd name="connsiteY40" fmla="*/ 4856435 h 6250127"/>
                <a:gd name="connsiteX41" fmla="*/ 4817276 w 5535001"/>
                <a:gd name="connsiteY41" fmla="*/ 5125275 h 6250127"/>
                <a:gd name="connsiteX42" fmla="*/ 4618753 w 5535001"/>
                <a:gd name="connsiteY42" fmla="*/ 5355374 h 6250127"/>
                <a:gd name="connsiteX43" fmla="*/ 4566575 w 5535001"/>
                <a:gd name="connsiteY43" fmla="*/ 5408560 h 6250127"/>
                <a:gd name="connsiteX44" fmla="*/ 4513837 w 5535001"/>
                <a:gd name="connsiteY44" fmla="*/ 5461186 h 6250127"/>
                <a:gd name="connsiteX45" fmla="*/ 4459531 w 5535001"/>
                <a:gd name="connsiteY45" fmla="*/ 5512580 h 6250127"/>
                <a:gd name="connsiteX46" fmla="*/ 4404554 w 5535001"/>
                <a:gd name="connsiteY46" fmla="*/ 5563526 h 6250127"/>
                <a:gd name="connsiteX47" fmla="*/ 4348009 w 5535001"/>
                <a:gd name="connsiteY47" fmla="*/ 5613017 h 6250127"/>
                <a:gd name="connsiteX48" fmla="*/ 4290568 w 5535001"/>
                <a:gd name="connsiteY48" fmla="*/ 5661948 h 6250127"/>
                <a:gd name="connsiteX49" fmla="*/ 4276124 w 5535001"/>
                <a:gd name="connsiteY49" fmla="*/ 5674153 h 6250127"/>
                <a:gd name="connsiteX50" fmla="*/ 4261120 w 5535001"/>
                <a:gd name="connsiteY50" fmla="*/ 5685798 h 6250127"/>
                <a:gd name="connsiteX51" fmla="*/ 4231112 w 5535001"/>
                <a:gd name="connsiteY51" fmla="*/ 5708976 h 6250127"/>
                <a:gd name="connsiteX52" fmla="*/ 4170984 w 5535001"/>
                <a:gd name="connsiteY52" fmla="*/ 5755443 h 6250127"/>
                <a:gd name="connsiteX53" fmla="*/ 4046025 w 5535001"/>
                <a:gd name="connsiteY53" fmla="*/ 5843228 h 6250127"/>
                <a:gd name="connsiteX54" fmla="*/ 3915356 w 5535001"/>
                <a:gd name="connsiteY54" fmla="*/ 5923735 h 6250127"/>
                <a:gd name="connsiteX55" fmla="*/ 3346323 w 5535001"/>
                <a:gd name="connsiteY55" fmla="*/ 6158872 h 6250127"/>
                <a:gd name="connsiteX56" fmla="*/ 2743476 w 5535001"/>
                <a:gd name="connsiteY56" fmla="*/ 6247328 h 6250127"/>
                <a:gd name="connsiteX57" fmla="*/ 2668120 w 5535001"/>
                <a:gd name="connsiteY57" fmla="*/ 6249344 h 6250127"/>
                <a:gd name="connsiteX58" fmla="*/ 2630498 w 5535001"/>
                <a:gd name="connsiteY58" fmla="*/ 6250127 h 6250127"/>
                <a:gd name="connsiteX59" fmla="*/ 2592988 w 5535001"/>
                <a:gd name="connsiteY59" fmla="*/ 6249568 h 6250127"/>
                <a:gd name="connsiteX60" fmla="*/ 2518080 w 5535001"/>
                <a:gd name="connsiteY60" fmla="*/ 6247777 h 6250127"/>
                <a:gd name="connsiteX61" fmla="*/ 2442948 w 5535001"/>
                <a:gd name="connsiteY61" fmla="*/ 6244529 h 6250127"/>
                <a:gd name="connsiteX62" fmla="*/ 2291676 w 5535001"/>
                <a:gd name="connsiteY62" fmla="*/ 6232213 h 6250127"/>
                <a:gd name="connsiteX63" fmla="*/ 2141412 w 5535001"/>
                <a:gd name="connsiteY63" fmla="*/ 6212394 h 6250127"/>
                <a:gd name="connsiteX64" fmla="*/ 1992715 w 5535001"/>
                <a:gd name="connsiteY64" fmla="*/ 6184961 h 6250127"/>
                <a:gd name="connsiteX65" fmla="*/ 1845811 w 5535001"/>
                <a:gd name="connsiteY65" fmla="*/ 6151034 h 6250127"/>
                <a:gd name="connsiteX66" fmla="*/ 1701033 w 5535001"/>
                <a:gd name="connsiteY66" fmla="*/ 6110724 h 6250127"/>
                <a:gd name="connsiteX67" fmla="*/ 1629484 w 5535001"/>
                <a:gd name="connsiteY67" fmla="*/ 6088219 h 6250127"/>
                <a:gd name="connsiteX68" fmla="*/ 1558383 w 5535001"/>
                <a:gd name="connsiteY68" fmla="*/ 6064929 h 6250127"/>
                <a:gd name="connsiteX69" fmla="*/ 1011968 w 5535001"/>
                <a:gd name="connsiteY69" fmla="*/ 5828896 h 6250127"/>
                <a:gd name="connsiteX70" fmla="*/ 511237 w 5535001"/>
                <a:gd name="connsiteY70" fmla="*/ 5512356 h 6250127"/>
                <a:gd name="connsiteX71" fmla="*/ 395572 w 5535001"/>
                <a:gd name="connsiteY71" fmla="*/ 5419757 h 6250127"/>
                <a:gd name="connsiteX72" fmla="*/ 284722 w 5535001"/>
                <a:gd name="connsiteY72" fmla="*/ 5321559 h 6250127"/>
                <a:gd name="connsiteX73" fmla="*/ 257513 w 5535001"/>
                <a:gd name="connsiteY73" fmla="*/ 5296477 h 6250127"/>
                <a:gd name="connsiteX74" fmla="*/ 243853 w 5535001"/>
                <a:gd name="connsiteY74" fmla="*/ 5283937 h 6250127"/>
                <a:gd name="connsiteX75" fmla="*/ 230752 w 5535001"/>
                <a:gd name="connsiteY75" fmla="*/ 5270836 h 6250127"/>
                <a:gd name="connsiteX76" fmla="*/ 178574 w 5535001"/>
                <a:gd name="connsiteY76" fmla="*/ 5218322 h 6250127"/>
                <a:gd name="connsiteX77" fmla="*/ 126508 w 5535001"/>
                <a:gd name="connsiteY77" fmla="*/ 5165584 h 6250127"/>
                <a:gd name="connsiteX78" fmla="*/ 76345 w 5535001"/>
                <a:gd name="connsiteY78" fmla="*/ 5111167 h 6250127"/>
                <a:gd name="connsiteX79" fmla="*/ 26407 w 5535001"/>
                <a:gd name="connsiteY79" fmla="*/ 5056413 h 6250127"/>
                <a:gd name="connsiteX80" fmla="*/ 0 w 5535001"/>
                <a:gd name="connsiteY80" fmla="*/ 5024776 h 6250127"/>
                <a:gd name="connsiteX81" fmla="*/ 0 w 5535001"/>
                <a:gd name="connsiteY81" fmla="*/ 4492798 h 6250127"/>
                <a:gd name="connsiteX82" fmla="*/ 28534 w 5535001"/>
                <a:gd name="connsiteY82" fmla="*/ 4537879 h 6250127"/>
                <a:gd name="connsiteX83" fmla="*/ 66604 w 5535001"/>
                <a:gd name="connsiteY83" fmla="*/ 4592745 h 6250127"/>
                <a:gd name="connsiteX84" fmla="*/ 104114 w 5535001"/>
                <a:gd name="connsiteY84" fmla="*/ 4647834 h 6250127"/>
                <a:gd name="connsiteX85" fmla="*/ 143751 w 5535001"/>
                <a:gd name="connsiteY85" fmla="*/ 4701580 h 6250127"/>
                <a:gd name="connsiteX86" fmla="*/ 182717 w 5535001"/>
                <a:gd name="connsiteY86" fmla="*/ 4755773 h 6250127"/>
                <a:gd name="connsiteX87" fmla="*/ 223810 w 5535001"/>
                <a:gd name="connsiteY87" fmla="*/ 4808399 h 6250127"/>
                <a:gd name="connsiteX88" fmla="*/ 264679 w 5535001"/>
                <a:gd name="connsiteY88" fmla="*/ 4861249 h 6250127"/>
                <a:gd name="connsiteX89" fmla="*/ 307788 w 5535001"/>
                <a:gd name="connsiteY89" fmla="*/ 4912420 h 6250127"/>
                <a:gd name="connsiteX90" fmla="*/ 351232 w 5535001"/>
                <a:gd name="connsiteY90" fmla="*/ 4963254 h 6250127"/>
                <a:gd name="connsiteX91" fmla="*/ 397028 w 5535001"/>
                <a:gd name="connsiteY91" fmla="*/ 5012185 h 6250127"/>
                <a:gd name="connsiteX92" fmla="*/ 443496 w 5535001"/>
                <a:gd name="connsiteY92" fmla="*/ 5060444 h 6250127"/>
                <a:gd name="connsiteX93" fmla="*/ 455140 w 5535001"/>
                <a:gd name="connsiteY93" fmla="*/ 5072537 h 6250127"/>
                <a:gd name="connsiteX94" fmla="*/ 467345 w 5535001"/>
                <a:gd name="connsiteY94" fmla="*/ 5083958 h 6250127"/>
                <a:gd name="connsiteX95" fmla="*/ 491755 w 5535001"/>
                <a:gd name="connsiteY95" fmla="*/ 5106912 h 6250127"/>
                <a:gd name="connsiteX96" fmla="*/ 540686 w 5535001"/>
                <a:gd name="connsiteY96" fmla="*/ 5152819 h 6250127"/>
                <a:gd name="connsiteX97" fmla="*/ 552890 w 5535001"/>
                <a:gd name="connsiteY97" fmla="*/ 5164353 h 6250127"/>
                <a:gd name="connsiteX98" fmla="*/ 565655 w 5535001"/>
                <a:gd name="connsiteY98" fmla="*/ 5175214 h 6250127"/>
                <a:gd name="connsiteX99" fmla="*/ 591072 w 5535001"/>
                <a:gd name="connsiteY99" fmla="*/ 5197048 h 6250127"/>
                <a:gd name="connsiteX100" fmla="*/ 694197 w 5535001"/>
                <a:gd name="connsiteY100" fmla="*/ 5283041 h 6250127"/>
                <a:gd name="connsiteX101" fmla="*/ 1146221 w 5535001"/>
                <a:gd name="connsiteY101" fmla="*/ 5573716 h 6250127"/>
                <a:gd name="connsiteX102" fmla="*/ 1650982 w 5535001"/>
                <a:gd name="connsiteY102" fmla="*/ 5758130 h 6250127"/>
                <a:gd name="connsiteX103" fmla="*/ 1716485 w 5535001"/>
                <a:gd name="connsiteY103" fmla="*/ 5772798 h 6250127"/>
                <a:gd name="connsiteX104" fmla="*/ 1782211 w 5535001"/>
                <a:gd name="connsiteY104" fmla="*/ 5786235 h 6250127"/>
                <a:gd name="connsiteX105" fmla="*/ 1848386 w 5535001"/>
                <a:gd name="connsiteY105" fmla="*/ 5796984 h 6250127"/>
                <a:gd name="connsiteX106" fmla="*/ 1881417 w 5535001"/>
                <a:gd name="connsiteY106" fmla="*/ 5802359 h 6250127"/>
                <a:gd name="connsiteX107" fmla="*/ 1914560 w 5535001"/>
                <a:gd name="connsiteY107" fmla="*/ 5807061 h 6250127"/>
                <a:gd name="connsiteX108" fmla="*/ 2047469 w 5535001"/>
                <a:gd name="connsiteY108" fmla="*/ 5821282 h 6250127"/>
                <a:gd name="connsiteX109" fmla="*/ 2180601 w 5535001"/>
                <a:gd name="connsiteY109" fmla="*/ 5828896 h 6250127"/>
                <a:gd name="connsiteX110" fmla="*/ 2313622 w 5535001"/>
                <a:gd name="connsiteY110" fmla="*/ 5830463 h 6250127"/>
                <a:gd name="connsiteX111" fmla="*/ 2380021 w 5535001"/>
                <a:gd name="connsiteY111" fmla="*/ 5828448 h 6250127"/>
                <a:gd name="connsiteX112" fmla="*/ 2446195 w 5535001"/>
                <a:gd name="connsiteY112" fmla="*/ 5826433 h 6250127"/>
                <a:gd name="connsiteX113" fmla="*/ 2513041 w 5535001"/>
                <a:gd name="connsiteY113" fmla="*/ 5822737 h 6250127"/>
                <a:gd name="connsiteX114" fmla="*/ 2580111 w 5535001"/>
                <a:gd name="connsiteY114" fmla="*/ 5818258 h 6250127"/>
                <a:gd name="connsiteX115" fmla="*/ 2613590 w 5535001"/>
                <a:gd name="connsiteY115" fmla="*/ 5816355 h 6250127"/>
                <a:gd name="connsiteX116" fmla="*/ 2646845 w 5535001"/>
                <a:gd name="connsiteY116" fmla="*/ 5813108 h 6250127"/>
                <a:gd name="connsiteX117" fmla="*/ 2713244 w 5535001"/>
                <a:gd name="connsiteY117" fmla="*/ 5806838 h 6250127"/>
                <a:gd name="connsiteX118" fmla="*/ 3230882 w 5535001"/>
                <a:gd name="connsiteY118" fmla="*/ 5721292 h 6250127"/>
                <a:gd name="connsiteX119" fmla="*/ 3720416 w 5535001"/>
                <a:gd name="connsiteY119" fmla="*/ 5556472 h 6250127"/>
                <a:gd name="connsiteX120" fmla="*/ 3837425 w 5535001"/>
                <a:gd name="connsiteY120" fmla="*/ 5499927 h 6250127"/>
                <a:gd name="connsiteX121" fmla="*/ 3951634 w 5535001"/>
                <a:gd name="connsiteY121" fmla="*/ 5436552 h 6250127"/>
                <a:gd name="connsiteX122" fmla="*/ 4007284 w 5535001"/>
                <a:gd name="connsiteY122" fmla="*/ 5401841 h 6250127"/>
                <a:gd name="connsiteX123" fmla="*/ 4035164 w 5535001"/>
                <a:gd name="connsiteY123" fmla="*/ 5384374 h 6250127"/>
                <a:gd name="connsiteX124" fmla="*/ 4049049 w 5535001"/>
                <a:gd name="connsiteY124" fmla="*/ 5375640 h 6250127"/>
                <a:gd name="connsiteX125" fmla="*/ 4062485 w 5535001"/>
                <a:gd name="connsiteY125" fmla="*/ 5366123 h 6250127"/>
                <a:gd name="connsiteX126" fmla="*/ 4116567 w 5535001"/>
                <a:gd name="connsiteY126" fmla="*/ 5328277 h 6250127"/>
                <a:gd name="connsiteX127" fmla="*/ 4169976 w 5535001"/>
                <a:gd name="connsiteY127" fmla="*/ 5289199 h 6250127"/>
                <a:gd name="connsiteX128" fmla="*/ 4222042 w 5535001"/>
                <a:gd name="connsiteY128" fmla="*/ 5247994 h 6250127"/>
                <a:gd name="connsiteX129" fmla="*/ 4273213 w 5535001"/>
                <a:gd name="connsiteY129" fmla="*/ 5205558 h 6250127"/>
                <a:gd name="connsiteX130" fmla="*/ 4323151 w 5535001"/>
                <a:gd name="connsiteY130" fmla="*/ 5161329 h 6250127"/>
                <a:gd name="connsiteX131" fmla="*/ 4371971 w 5535001"/>
                <a:gd name="connsiteY131" fmla="*/ 5116093 h 6250127"/>
                <a:gd name="connsiteX132" fmla="*/ 4546868 w 5535001"/>
                <a:gd name="connsiteY132" fmla="*/ 4924400 h 6250127"/>
                <a:gd name="connsiteX133" fmla="*/ 4675634 w 5535001"/>
                <a:gd name="connsiteY133" fmla="*/ 4715352 h 6250127"/>
                <a:gd name="connsiteX134" fmla="*/ 4700155 w 5535001"/>
                <a:gd name="connsiteY134" fmla="*/ 4659255 h 6250127"/>
                <a:gd name="connsiteX135" fmla="*/ 4721206 w 5535001"/>
                <a:gd name="connsiteY135" fmla="*/ 4600135 h 6250127"/>
                <a:gd name="connsiteX136" fmla="*/ 4740465 w 5535001"/>
                <a:gd name="connsiteY136" fmla="*/ 4538887 h 6250127"/>
                <a:gd name="connsiteX137" fmla="*/ 4758492 w 5535001"/>
                <a:gd name="connsiteY137" fmla="*/ 4475848 h 6250127"/>
                <a:gd name="connsiteX138" fmla="*/ 4891288 w 5535001"/>
                <a:gd name="connsiteY138" fmla="*/ 3930329 h 6250127"/>
                <a:gd name="connsiteX139" fmla="*/ 5066298 w 5535001"/>
                <a:gd name="connsiteY139" fmla="*/ 3382235 h 6250127"/>
                <a:gd name="connsiteX140" fmla="*/ 5156994 w 5535001"/>
                <a:gd name="connsiteY140" fmla="*/ 2898635 h 6250127"/>
                <a:gd name="connsiteX141" fmla="*/ 5083317 w 5535001"/>
                <a:gd name="connsiteY141" fmla="*/ 2402047 h 6250127"/>
                <a:gd name="connsiteX142" fmla="*/ 4871022 w 5535001"/>
                <a:gd name="connsiteY142" fmla="*/ 1926958 h 6250127"/>
                <a:gd name="connsiteX143" fmla="*/ 4727028 w 5535001"/>
                <a:gd name="connsiteY143" fmla="*/ 1703577 h 6250127"/>
                <a:gd name="connsiteX144" fmla="*/ 4563776 w 5535001"/>
                <a:gd name="connsiteY144" fmla="*/ 1490834 h 6250127"/>
                <a:gd name="connsiteX145" fmla="*/ 4370291 w 5535001"/>
                <a:gd name="connsiteY145" fmla="*/ 1300596 h 6250127"/>
                <a:gd name="connsiteX146" fmla="*/ 4266046 w 5535001"/>
                <a:gd name="connsiteY146" fmla="*/ 1214491 h 6250127"/>
                <a:gd name="connsiteX147" fmla="*/ 4212973 w 5535001"/>
                <a:gd name="connsiteY147" fmla="*/ 1173062 h 6250127"/>
                <a:gd name="connsiteX148" fmla="*/ 4157995 w 5535001"/>
                <a:gd name="connsiteY148" fmla="*/ 1134545 h 6250127"/>
                <a:gd name="connsiteX149" fmla="*/ 3697126 w 5535001"/>
                <a:gd name="connsiteY149" fmla="*/ 881044 h 6250127"/>
                <a:gd name="connsiteX150" fmla="*/ 3637670 w 5535001"/>
                <a:gd name="connsiteY150" fmla="*/ 856747 h 6250127"/>
                <a:gd name="connsiteX151" fmla="*/ 3608222 w 5535001"/>
                <a:gd name="connsiteY151" fmla="*/ 844318 h 6250127"/>
                <a:gd name="connsiteX152" fmla="*/ 3578214 w 5535001"/>
                <a:gd name="connsiteY152" fmla="*/ 833457 h 6250127"/>
                <a:gd name="connsiteX153" fmla="*/ 3518309 w 5535001"/>
                <a:gd name="connsiteY153" fmla="*/ 812294 h 6250127"/>
                <a:gd name="connsiteX154" fmla="*/ 3503417 w 5535001"/>
                <a:gd name="connsiteY154" fmla="*/ 806920 h 6250127"/>
                <a:gd name="connsiteX155" fmla="*/ 3489533 w 5535001"/>
                <a:gd name="connsiteY155" fmla="*/ 799642 h 6250127"/>
                <a:gd name="connsiteX156" fmla="*/ 3460869 w 5535001"/>
                <a:gd name="connsiteY156" fmla="*/ 787101 h 6250127"/>
                <a:gd name="connsiteX157" fmla="*/ 3402980 w 5535001"/>
                <a:gd name="connsiteY157" fmla="*/ 763475 h 6250127"/>
                <a:gd name="connsiteX158" fmla="*/ 3374092 w 5535001"/>
                <a:gd name="connsiteY158" fmla="*/ 751606 h 6250127"/>
                <a:gd name="connsiteX159" fmla="*/ 3344980 w 5535001"/>
                <a:gd name="connsiteY159" fmla="*/ 740409 h 6250127"/>
                <a:gd name="connsiteX160" fmla="*/ 3226627 w 5535001"/>
                <a:gd name="connsiteY160" fmla="*/ 700772 h 6250127"/>
                <a:gd name="connsiteX161" fmla="*/ 2735750 w 5535001"/>
                <a:gd name="connsiteY161" fmla="*/ 614667 h 6250127"/>
                <a:gd name="connsiteX162" fmla="*/ 2673158 w 5535001"/>
                <a:gd name="connsiteY162" fmla="*/ 610412 h 6250127"/>
                <a:gd name="connsiteX163" fmla="*/ 2610119 w 5535001"/>
                <a:gd name="connsiteY163" fmla="*/ 609628 h 6250127"/>
                <a:gd name="connsiteX164" fmla="*/ 2547080 w 5535001"/>
                <a:gd name="connsiteY164" fmla="*/ 608620 h 6250127"/>
                <a:gd name="connsiteX165" fmla="*/ 2516400 w 5535001"/>
                <a:gd name="connsiteY165" fmla="*/ 608844 h 6250127"/>
                <a:gd name="connsiteX166" fmla="*/ 2486280 w 5535001"/>
                <a:gd name="connsiteY166" fmla="*/ 609740 h 6250127"/>
                <a:gd name="connsiteX167" fmla="*/ 2426376 w 5535001"/>
                <a:gd name="connsiteY167" fmla="*/ 613099 h 6250127"/>
                <a:gd name="connsiteX168" fmla="*/ 2366920 w 5535001"/>
                <a:gd name="connsiteY168" fmla="*/ 618474 h 6250127"/>
                <a:gd name="connsiteX169" fmla="*/ 2337248 w 5535001"/>
                <a:gd name="connsiteY169" fmla="*/ 621497 h 6250127"/>
                <a:gd name="connsiteX170" fmla="*/ 2307800 w 5535001"/>
                <a:gd name="connsiteY170" fmla="*/ 625528 h 6250127"/>
                <a:gd name="connsiteX171" fmla="*/ 2278351 w 5535001"/>
                <a:gd name="connsiteY171" fmla="*/ 629559 h 6250127"/>
                <a:gd name="connsiteX172" fmla="*/ 2249127 w 5535001"/>
                <a:gd name="connsiteY172" fmla="*/ 634710 h 6250127"/>
                <a:gd name="connsiteX173" fmla="*/ 1796096 w 5535001"/>
                <a:gd name="connsiteY173" fmla="*/ 781726 h 6250127"/>
                <a:gd name="connsiteX174" fmla="*/ 1370833 w 5535001"/>
                <a:gd name="connsiteY174" fmla="*/ 1048663 h 6250127"/>
                <a:gd name="connsiteX175" fmla="*/ 959790 w 5535001"/>
                <a:gd name="connsiteY175" fmla="*/ 1390844 h 6250127"/>
                <a:gd name="connsiteX176" fmla="*/ 749062 w 5535001"/>
                <a:gd name="connsiteY176" fmla="*/ 1577611 h 6250127"/>
                <a:gd name="connsiteX177" fmla="*/ 524786 w 5535001"/>
                <a:gd name="connsiteY177" fmla="*/ 1763145 h 6250127"/>
                <a:gd name="connsiteX178" fmla="*/ 84071 w 5535001"/>
                <a:gd name="connsiteY178" fmla="*/ 2098496 h 6250127"/>
                <a:gd name="connsiteX179" fmla="*/ 0 w 5535001"/>
                <a:gd name="connsiteY179" fmla="*/ 2168094 h 6250127"/>
                <a:gd name="connsiteX180" fmla="*/ 0 w 5535001"/>
                <a:gd name="connsiteY180" fmla="*/ 1576676 h 6250127"/>
                <a:gd name="connsiteX181" fmla="*/ 174655 w 5535001"/>
                <a:gd name="connsiteY181" fmla="*/ 1387597 h 6250127"/>
                <a:gd name="connsiteX182" fmla="*/ 363661 w 5535001"/>
                <a:gd name="connsiteY182" fmla="*/ 1188626 h 6250127"/>
                <a:gd name="connsiteX183" fmla="*/ 458052 w 5535001"/>
                <a:gd name="connsiteY183" fmla="*/ 1086397 h 6250127"/>
                <a:gd name="connsiteX184" fmla="*/ 557257 w 5535001"/>
                <a:gd name="connsiteY184" fmla="*/ 981593 h 6250127"/>
                <a:gd name="connsiteX185" fmla="*/ 994165 w 5535001"/>
                <a:gd name="connsiteY185" fmla="*/ 578389 h 6250127"/>
                <a:gd name="connsiteX186" fmla="*/ 1520873 w 5535001"/>
                <a:gd name="connsiteY186" fmla="*/ 237215 h 6250127"/>
                <a:gd name="connsiteX187" fmla="*/ 2141748 w 5535001"/>
                <a:gd name="connsiteY187" fmla="*/ 31190 h 6250127"/>
                <a:gd name="connsiteX188" fmla="*/ 2182505 w 5535001"/>
                <a:gd name="connsiteY188" fmla="*/ 24360 h 6250127"/>
                <a:gd name="connsiteX189" fmla="*/ 2223374 w 5535001"/>
                <a:gd name="connsiteY189" fmla="*/ 18873 h 6250127"/>
                <a:gd name="connsiteX190" fmla="*/ 2264355 w 5535001"/>
                <a:gd name="connsiteY190" fmla="*/ 13611 h 6250127"/>
                <a:gd name="connsiteX191" fmla="*/ 2305336 w 5535001"/>
                <a:gd name="connsiteY191" fmla="*/ 9580 h 6250127"/>
                <a:gd name="connsiteX192" fmla="*/ 2387410 w 5535001"/>
                <a:gd name="connsiteY192" fmla="*/ 3645 h 6250127"/>
                <a:gd name="connsiteX193" fmla="*/ 2469373 w 5535001"/>
                <a:gd name="connsiteY193" fmla="*/ 622 h 625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535001" h="6250127">
                  <a:moveTo>
                    <a:pt x="2510242" y="174"/>
                  </a:moveTo>
                  <a:cubicBezTo>
                    <a:pt x="2523902" y="-50"/>
                    <a:pt x="2537562" y="-162"/>
                    <a:pt x="2550551" y="510"/>
                  </a:cubicBezTo>
                  <a:lnTo>
                    <a:pt x="2629490" y="3757"/>
                  </a:lnTo>
                  <a:lnTo>
                    <a:pt x="2708317" y="7229"/>
                  </a:lnTo>
                  <a:cubicBezTo>
                    <a:pt x="2734630" y="8572"/>
                    <a:pt x="2760943" y="12155"/>
                    <a:pt x="2787256" y="14619"/>
                  </a:cubicBezTo>
                  <a:cubicBezTo>
                    <a:pt x="2997536" y="34885"/>
                    <a:pt x="3207144" y="77994"/>
                    <a:pt x="3408467" y="145064"/>
                  </a:cubicBezTo>
                  <a:lnTo>
                    <a:pt x="3557723" y="199593"/>
                  </a:lnTo>
                  <a:cubicBezTo>
                    <a:pt x="3570264" y="203848"/>
                    <a:pt x="3582245" y="209447"/>
                    <a:pt x="3594337" y="214597"/>
                  </a:cubicBezTo>
                  <a:lnTo>
                    <a:pt x="3630616" y="230385"/>
                  </a:lnTo>
                  <a:lnTo>
                    <a:pt x="3703172" y="262073"/>
                  </a:lnTo>
                  <a:cubicBezTo>
                    <a:pt x="3715265" y="267335"/>
                    <a:pt x="3727358" y="272598"/>
                    <a:pt x="3739003" y="278756"/>
                  </a:cubicBezTo>
                  <a:cubicBezTo>
                    <a:pt x="3744937" y="281667"/>
                    <a:pt x="3750984" y="284131"/>
                    <a:pt x="3756806" y="287266"/>
                  </a:cubicBezTo>
                  <a:cubicBezTo>
                    <a:pt x="3762517" y="290513"/>
                    <a:pt x="3768115" y="294208"/>
                    <a:pt x="3773714" y="297567"/>
                  </a:cubicBezTo>
                  <a:lnTo>
                    <a:pt x="3840784" y="339332"/>
                  </a:lnTo>
                  <a:cubicBezTo>
                    <a:pt x="3851869" y="346386"/>
                    <a:pt x="3863290" y="352881"/>
                    <a:pt x="3873927" y="360495"/>
                  </a:cubicBezTo>
                  <a:lnTo>
                    <a:pt x="3906062" y="383001"/>
                  </a:lnTo>
                  <a:lnTo>
                    <a:pt x="3969662" y="428572"/>
                  </a:lnTo>
                  <a:cubicBezTo>
                    <a:pt x="4137281" y="552188"/>
                    <a:pt x="4285417" y="693270"/>
                    <a:pt x="4423029" y="837600"/>
                  </a:cubicBezTo>
                  <a:cubicBezTo>
                    <a:pt x="4440160" y="855739"/>
                    <a:pt x="4457404" y="873766"/>
                    <a:pt x="4474647" y="891569"/>
                  </a:cubicBezTo>
                  <a:lnTo>
                    <a:pt x="4524250" y="946883"/>
                  </a:lnTo>
                  <a:lnTo>
                    <a:pt x="4573965" y="1001748"/>
                  </a:lnTo>
                  <a:cubicBezTo>
                    <a:pt x="4590760" y="1019887"/>
                    <a:pt x="4605988" y="1039146"/>
                    <a:pt x="4622224" y="1057509"/>
                  </a:cubicBezTo>
                  <a:cubicBezTo>
                    <a:pt x="4653911" y="1094907"/>
                    <a:pt x="4686831" y="1131409"/>
                    <a:pt x="4717510" y="1169143"/>
                  </a:cubicBezTo>
                  <a:cubicBezTo>
                    <a:pt x="4733186" y="1187730"/>
                    <a:pt x="4748862" y="1206430"/>
                    <a:pt x="4764986" y="1224681"/>
                  </a:cubicBezTo>
                  <a:cubicBezTo>
                    <a:pt x="4780886" y="1243044"/>
                    <a:pt x="4797233" y="1261071"/>
                    <a:pt x="4813021" y="1279994"/>
                  </a:cubicBezTo>
                  <a:cubicBezTo>
                    <a:pt x="4877292" y="1354230"/>
                    <a:pt x="4941339" y="1428914"/>
                    <a:pt x="5001915" y="1506846"/>
                  </a:cubicBezTo>
                  <a:cubicBezTo>
                    <a:pt x="5062603" y="1584665"/>
                    <a:pt x="5118252" y="1666739"/>
                    <a:pt x="5170542" y="1751165"/>
                  </a:cubicBezTo>
                  <a:cubicBezTo>
                    <a:pt x="5274898" y="1920240"/>
                    <a:pt x="5363579" y="2101295"/>
                    <a:pt x="5428969" y="2293660"/>
                  </a:cubicBezTo>
                  <a:cubicBezTo>
                    <a:pt x="5494136" y="2485801"/>
                    <a:pt x="5533102" y="2690819"/>
                    <a:pt x="5534893" y="2899307"/>
                  </a:cubicBezTo>
                  <a:cubicBezTo>
                    <a:pt x="5536124" y="3003439"/>
                    <a:pt x="5526831" y="3108132"/>
                    <a:pt x="5508804" y="3211144"/>
                  </a:cubicBezTo>
                  <a:cubicBezTo>
                    <a:pt x="5490441" y="3314157"/>
                    <a:pt x="5462336" y="3415490"/>
                    <a:pt x="5426282" y="3513352"/>
                  </a:cubicBezTo>
                  <a:cubicBezTo>
                    <a:pt x="5363355" y="3684890"/>
                    <a:pt x="5302219" y="3856428"/>
                    <a:pt x="5248250" y="4030542"/>
                  </a:cubicBezTo>
                  <a:lnTo>
                    <a:pt x="5208612" y="4161771"/>
                  </a:lnTo>
                  <a:lnTo>
                    <a:pt x="5170318" y="4294680"/>
                  </a:lnTo>
                  <a:lnTo>
                    <a:pt x="5132248" y="4430164"/>
                  </a:lnTo>
                  <a:lnTo>
                    <a:pt x="5112765" y="4498914"/>
                  </a:lnTo>
                  <a:lnTo>
                    <a:pt x="5091715" y="4569119"/>
                  </a:lnTo>
                  <a:cubicBezTo>
                    <a:pt x="5085221" y="4592297"/>
                    <a:pt x="5076823" y="4616482"/>
                    <a:pt x="5068985" y="4640220"/>
                  </a:cubicBezTo>
                  <a:cubicBezTo>
                    <a:pt x="5060699" y="4664182"/>
                    <a:pt x="5053981" y="4687807"/>
                    <a:pt x="5043904" y="4712105"/>
                  </a:cubicBezTo>
                  <a:lnTo>
                    <a:pt x="5015799" y="4784438"/>
                  </a:lnTo>
                  <a:cubicBezTo>
                    <a:pt x="5005274" y="4808511"/>
                    <a:pt x="4993965" y="4832473"/>
                    <a:pt x="4982880" y="4856435"/>
                  </a:cubicBezTo>
                  <a:cubicBezTo>
                    <a:pt x="4936524" y="4951273"/>
                    <a:pt x="4881099" y="5044096"/>
                    <a:pt x="4817276" y="5125275"/>
                  </a:cubicBezTo>
                  <a:cubicBezTo>
                    <a:pt x="4755244" y="5208805"/>
                    <a:pt x="4686943" y="5282817"/>
                    <a:pt x="4618753" y="5355374"/>
                  </a:cubicBezTo>
                  <a:cubicBezTo>
                    <a:pt x="4602069" y="5374073"/>
                    <a:pt x="4584154" y="5391092"/>
                    <a:pt x="4566575" y="5408560"/>
                  </a:cubicBezTo>
                  <a:lnTo>
                    <a:pt x="4513837" y="5461186"/>
                  </a:lnTo>
                  <a:cubicBezTo>
                    <a:pt x="4496593" y="5479101"/>
                    <a:pt x="4477894" y="5495560"/>
                    <a:pt x="4459531" y="5512580"/>
                  </a:cubicBezTo>
                  <a:lnTo>
                    <a:pt x="4404554" y="5563526"/>
                  </a:lnTo>
                  <a:cubicBezTo>
                    <a:pt x="4386527" y="5580770"/>
                    <a:pt x="4366932" y="5596670"/>
                    <a:pt x="4348009" y="5613017"/>
                  </a:cubicBezTo>
                  <a:lnTo>
                    <a:pt x="4290568" y="5661948"/>
                  </a:lnTo>
                  <a:lnTo>
                    <a:pt x="4276124" y="5674153"/>
                  </a:lnTo>
                  <a:lnTo>
                    <a:pt x="4261120" y="5685798"/>
                  </a:lnTo>
                  <a:lnTo>
                    <a:pt x="4231112" y="5708976"/>
                  </a:lnTo>
                  <a:lnTo>
                    <a:pt x="4170984" y="5755443"/>
                  </a:lnTo>
                  <a:cubicBezTo>
                    <a:pt x="4130227" y="5785563"/>
                    <a:pt x="4087790" y="5813892"/>
                    <a:pt x="4046025" y="5843228"/>
                  </a:cubicBezTo>
                  <a:cubicBezTo>
                    <a:pt x="4002917" y="5870437"/>
                    <a:pt x="3959248" y="5897309"/>
                    <a:pt x="3915356" y="5923735"/>
                  </a:cubicBezTo>
                  <a:cubicBezTo>
                    <a:pt x="3737659" y="6026299"/>
                    <a:pt x="3544847" y="6106022"/>
                    <a:pt x="3346323" y="6158872"/>
                  </a:cubicBezTo>
                  <a:cubicBezTo>
                    <a:pt x="3147800" y="6211946"/>
                    <a:pt x="2944462" y="6239714"/>
                    <a:pt x="2743476" y="6247328"/>
                  </a:cubicBezTo>
                  <a:lnTo>
                    <a:pt x="2668120" y="6249344"/>
                  </a:lnTo>
                  <a:lnTo>
                    <a:pt x="2630498" y="6250127"/>
                  </a:lnTo>
                  <a:lnTo>
                    <a:pt x="2592988" y="6249568"/>
                  </a:lnTo>
                  <a:lnTo>
                    <a:pt x="2518080" y="6247777"/>
                  </a:lnTo>
                  <a:cubicBezTo>
                    <a:pt x="2493110" y="6247105"/>
                    <a:pt x="2468365" y="6246881"/>
                    <a:pt x="2442948" y="6244529"/>
                  </a:cubicBezTo>
                  <a:cubicBezTo>
                    <a:pt x="2392337" y="6240722"/>
                    <a:pt x="2341950" y="6237699"/>
                    <a:pt x="2291676" y="6232213"/>
                  </a:cubicBezTo>
                  <a:lnTo>
                    <a:pt x="2141412" y="6212394"/>
                  </a:lnTo>
                  <a:lnTo>
                    <a:pt x="1992715" y="6184961"/>
                  </a:lnTo>
                  <a:cubicBezTo>
                    <a:pt x="1943561" y="6173988"/>
                    <a:pt x="1894630" y="6162231"/>
                    <a:pt x="1845811" y="6151034"/>
                  </a:cubicBezTo>
                  <a:cubicBezTo>
                    <a:pt x="1797215" y="6138829"/>
                    <a:pt x="1749180" y="6123938"/>
                    <a:pt x="1701033" y="6110724"/>
                  </a:cubicBezTo>
                  <a:cubicBezTo>
                    <a:pt x="1676847" y="6104566"/>
                    <a:pt x="1653334" y="6095833"/>
                    <a:pt x="1629484" y="6088219"/>
                  </a:cubicBezTo>
                  <a:lnTo>
                    <a:pt x="1558383" y="6064929"/>
                  </a:lnTo>
                  <a:cubicBezTo>
                    <a:pt x="1369713" y="6000210"/>
                    <a:pt x="1186978" y="5921271"/>
                    <a:pt x="1011968" y="5828896"/>
                  </a:cubicBezTo>
                  <a:cubicBezTo>
                    <a:pt x="837071" y="5736408"/>
                    <a:pt x="668556" y="5631940"/>
                    <a:pt x="511237" y="5512356"/>
                  </a:cubicBezTo>
                  <a:cubicBezTo>
                    <a:pt x="471152" y="5483468"/>
                    <a:pt x="433642" y="5451220"/>
                    <a:pt x="395572" y="5419757"/>
                  </a:cubicBezTo>
                  <a:cubicBezTo>
                    <a:pt x="356831" y="5388965"/>
                    <a:pt x="321112" y="5354926"/>
                    <a:pt x="284722" y="5321559"/>
                  </a:cubicBezTo>
                  <a:lnTo>
                    <a:pt x="257513" y="5296477"/>
                  </a:lnTo>
                  <a:lnTo>
                    <a:pt x="243853" y="5283937"/>
                  </a:lnTo>
                  <a:lnTo>
                    <a:pt x="230752" y="5270836"/>
                  </a:lnTo>
                  <a:lnTo>
                    <a:pt x="178574" y="5218322"/>
                  </a:lnTo>
                  <a:cubicBezTo>
                    <a:pt x="161331" y="5200631"/>
                    <a:pt x="143191" y="5183948"/>
                    <a:pt x="126508" y="5165584"/>
                  </a:cubicBezTo>
                  <a:lnTo>
                    <a:pt x="76345" y="5111167"/>
                  </a:lnTo>
                  <a:cubicBezTo>
                    <a:pt x="59774" y="5092916"/>
                    <a:pt x="42530" y="5075112"/>
                    <a:pt x="26407" y="5056413"/>
                  </a:cubicBezTo>
                  <a:lnTo>
                    <a:pt x="0" y="5024776"/>
                  </a:lnTo>
                  <a:lnTo>
                    <a:pt x="0" y="4492798"/>
                  </a:lnTo>
                  <a:lnTo>
                    <a:pt x="28534" y="4537879"/>
                  </a:lnTo>
                  <a:cubicBezTo>
                    <a:pt x="41299" y="4556130"/>
                    <a:pt x="54175" y="4574382"/>
                    <a:pt x="66604" y="4592745"/>
                  </a:cubicBezTo>
                  <a:lnTo>
                    <a:pt x="104114" y="4647834"/>
                  </a:lnTo>
                  <a:lnTo>
                    <a:pt x="143751" y="4701580"/>
                  </a:lnTo>
                  <a:cubicBezTo>
                    <a:pt x="156964" y="4719495"/>
                    <a:pt x="169728" y="4737746"/>
                    <a:pt x="182717" y="4755773"/>
                  </a:cubicBezTo>
                  <a:lnTo>
                    <a:pt x="223810" y="4808399"/>
                  </a:lnTo>
                  <a:lnTo>
                    <a:pt x="264679" y="4861249"/>
                  </a:lnTo>
                  <a:cubicBezTo>
                    <a:pt x="278563" y="4878717"/>
                    <a:pt x="293455" y="4895288"/>
                    <a:pt x="307788" y="4912420"/>
                  </a:cubicBezTo>
                  <a:lnTo>
                    <a:pt x="351232" y="4963254"/>
                  </a:lnTo>
                  <a:cubicBezTo>
                    <a:pt x="365788" y="4980162"/>
                    <a:pt x="381688" y="4995837"/>
                    <a:pt x="397028" y="5012185"/>
                  </a:cubicBezTo>
                  <a:lnTo>
                    <a:pt x="443496" y="5060444"/>
                  </a:lnTo>
                  <a:lnTo>
                    <a:pt x="455140" y="5072537"/>
                  </a:lnTo>
                  <a:lnTo>
                    <a:pt x="467345" y="5083958"/>
                  </a:lnTo>
                  <a:lnTo>
                    <a:pt x="491755" y="5106912"/>
                  </a:lnTo>
                  <a:lnTo>
                    <a:pt x="540686" y="5152819"/>
                  </a:lnTo>
                  <a:lnTo>
                    <a:pt x="552890" y="5164353"/>
                  </a:lnTo>
                  <a:lnTo>
                    <a:pt x="565655" y="5175214"/>
                  </a:lnTo>
                  <a:lnTo>
                    <a:pt x="591072" y="5197048"/>
                  </a:lnTo>
                  <a:cubicBezTo>
                    <a:pt x="624999" y="5226160"/>
                    <a:pt x="658366" y="5256056"/>
                    <a:pt x="694197" y="5283041"/>
                  </a:cubicBezTo>
                  <a:cubicBezTo>
                    <a:pt x="834272" y="5394675"/>
                    <a:pt x="985207" y="5493881"/>
                    <a:pt x="1146221" y="5573716"/>
                  </a:cubicBezTo>
                  <a:cubicBezTo>
                    <a:pt x="1307122" y="5653774"/>
                    <a:pt x="1476869" y="5715918"/>
                    <a:pt x="1650982" y="5758130"/>
                  </a:cubicBezTo>
                  <a:lnTo>
                    <a:pt x="1716485" y="5772798"/>
                  </a:lnTo>
                  <a:cubicBezTo>
                    <a:pt x="1738431" y="5777390"/>
                    <a:pt x="1759929" y="5783100"/>
                    <a:pt x="1782211" y="5786235"/>
                  </a:cubicBezTo>
                  <a:lnTo>
                    <a:pt x="1848386" y="5796984"/>
                  </a:lnTo>
                  <a:lnTo>
                    <a:pt x="1881417" y="5802359"/>
                  </a:lnTo>
                  <a:cubicBezTo>
                    <a:pt x="1892390" y="5804151"/>
                    <a:pt x="1903363" y="5806054"/>
                    <a:pt x="1914560" y="5807061"/>
                  </a:cubicBezTo>
                  <a:cubicBezTo>
                    <a:pt x="1959012" y="5811765"/>
                    <a:pt x="2003241" y="5817251"/>
                    <a:pt x="2047469" y="5821282"/>
                  </a:cubicBezTo>
                  <a:lnTo>
                    <a:pt x="2180601" y="5828896"/>
                  </a:lnTo>
                  <a:lnTo>
                    <a:pt x="2313622" y="5830463"/>
                  </a:lnTo>
                  <a:cubicBezTo>
                    <a:pt x="2335680" y="5830799"/>
                    <a:pt x="2357962" y="5829008"/>
                    <a:pt x="2380021" y="5828448"/>
                  </a:cubicBezTo>
                  <a:lnTo>
                    <a:pt x="2446195" y="5826433"/>
                  </a:lnTo>
                  <a:cubicBezTo>
                    <a:pt x="2468029" y="5826208"/>
                    <a:pt x="2490647" y="5824193"/>
                    <a:pt x="2513041" y="5822737"/>
                  </a:cubicBezTo>
                  <a:lnTo>
                    <a:pt x="2580111" y="5818258"/>
                  </a:lnTo>
                  <a:lnTo>
                    <a:pt x="2613590" y="5816355"/>
                  </a:lnTo>
                  <a:lnTo>
                    <a:pt x="2646845" y="5813108"/>
                  </a:lnTo>
                  <a:cubicBezTo>
                    <a:pt x="2669016" y="5810869"/>
                    <a:pt x="2691074" y="5808741"/>
                    <a:pt x="2713244" y="5806838"/>
                  </a:cubicBezTo>
                  <a:cubicBezTo>
                    <a:pt x="2889933" y="5789371"/>
                    <a:pt x="3062815" y="5762050"/>
                    <a:pt x="3230882" y="5721292"/>
                  </a:cubicBezTo>
                  <a:cubicBezTo>
                    <a:pt x="3398837" y="5680423"/>
                    <a:pt x="3562426" y="5626902"/>
                    <a:pt x="3720416" y="5556472"/>
                  </a:cubicBezTo>
                  <a:cubicBezTo>
                    <a:pt x="3759381" y="5537997"/>
                    <a:pt x="3798347" y="5518962"/>
                    <a:pt x="3837425" y="5499927"/>
                  </a:cubicBezTo>
                  <a:cubicBezTo>
                    <a:pt x="3875271" y="5478765"/>
                    <a:pt x="3913900" y="5458610"/>
                    <a:pt x="3951634" y="5436552"/>
                  </a:cubicBezTo>
                  <a:lnTo>
                    <a:pt x="4007284" y="5401841"/>
                  </a:lnTo>
                  <a:lnTo>
                    <a:pt x="4035164" y="5384374"/>
                  </a:lnTo>
                  <a:lnTo>
                    <a:pt x="4049049" y="5375640"/>
                  </a:lnTo>
                  <a:lnTo>
                    <a:pt x="4062485" y="5366123"/>
                  </a:lnTo>
                  <a:lnTo>
                    <a:pt x="4116567" y="5328277"/>
                  </a:lnTo>
                  <a:cubicBezTo>
                    <a:pt x="4134594" y="5315624"/>
                    <a:pt x="4152957" y="5303420"/>
                    <a:pt x="4169976" y="5289199"/>
                  </a:cubicBezTo>
                  <a:lnTo>
                    <a:pt x="4222042" y="5247994"/>
                  </a:lnTo>
                  <a:cubicBezTo>
                    <a:pt x="4239398" y="5234222"/>
                    <a:pt x="4256865" y="5220562"/>
                    <a:pt x="4273213" y="5205558"/>
                  </a:cubicBezTo>
                  <a:lnTo>
                    <a:pt x="4323151" y="5161329"/>
                  </a:lnTo>
                  <a:cubicBezTo>
                    <a:pt x="4339611" y="5146437"/>
                    <a:pt x="4356631" y="5131881"/>
                    <a:pt x="4371971" y="5116093"/>
                  </a:cubicBezTo>
                  <a:cubicBezTo>
                    <a:pt x="4435457" y="5054398"/>
                    <a:pt x="4496258" y="4991135"/>
                    <a:pt x="4546868" y="4924400"/>
                  </a:cubicBezTo>
                  <a:cubicBezTo>
                    <a:pt x="4600054" y="4858450"/>
                    <a:pt x="4640699" y="4788916"/>
                    <a:pt x="4675634" y="4715352"/>
                  </a:cubicBezTo>
                  <a:lnTo>
                    <a:pt x="4700155" y="4659255"/>
                  </a:lnTo>
                  <a:lnTo>
                    <a:pt x="4721206" y="4600135"/>
                  </a:lnTo>
                  <a:cubicBezTo>
                    <a:pt x="4728707" y="4580988"/>
                    <a:pt x="4733970" y="4559266"/>
                    <a:pt x="4740465" y="4538887"/>
                  </a:cubicBezTo>
                  <a:cubicBezTo>
                    <a:pt x="4746623" y="4518061"/>
                    <a:pt x="4753005" y="4497906"/>
                    <a:pt x="4758492" y="4475848"/>
                  </a:cubicBezTo>
                  <a:cubicBezTo>
                    <a:pt x="4803168" y="4303637"/>
                    <a:pt x="4840902" y="4115080"/>
                    <a:pt x="4891288" y="3930329"/>
                  </a:cubicBezTo>
                  <a:cubicBezTo>
                    <a:pt x="4940891" y="3744906"/>
                    <a:pt x="5000235" y="3562059"/>
                    <a:pt x="5066298" y="3382235"/>
                  </a:cubicBezTo>
                  <a:cubicBezTo>
                    <a:pt x="5124186" y="3226932"/>
                    <a:pt x="5154530" y="3064015"/>
                    <a:pt x="5156994" y="2898635"/>
                  </a:cubicBezTo>
                  <a:cubicBezTo>
                    <a:pt x="5159681" y="2733255"/>
                    <a:pt x="5132920" y="2565636"/>
                    <a:pt x="5083317" y="2402047"/>
                  </a:cubicBezTo>
                  <a:cubicBezTo>
                    <a:pt x="5033938" y="2238123"/>
                    <a:pt x="4960150" y="2079013"/>
                    <a:pt x="4871022" y="1926958"/>
                  </a:cubicBezTo>
                  <a:cubicBezTo>
                    <a:pt x="4826570" y="1850818"/>
                    <a:pt x="4777415" y="1776918"/>
                    <a:pt x="4727028" y="1703577"/>
                  </a:cubicBezTo>
                  <a:cubicBezTo>
                    <a:pt x="4676418" y="1630349"/>
                    <a:pt x="4622784" y="1558464"/>
                    <a:pt x="4563776" y="1490834"/>
                  </a:cubicBezTo>
                  <a:cubicBezTo>
                    <a:pt x="4503647" y="1423764"/>
                    <a:pt x="4439041" y="1359157"/>
                    <a:pt x="4370291" y="1300596"/>
                  </a:cubicBezTo>
                  <a:cubicBezTo>
                    <a:pt x="4336812" y="1270141"/>
                    <a:pt x="4301541" y="1242148"/>
                    <a:pt x="4266046" y="1214491"/>
                  </a:cubicBezTo>
                  <a:cubicBezTo>
                    <a:pt x="4248355" y="1200607"/>
                    <a:pt x="4230776" y="1186611"/>
                    <a:pt x="4212973" y="1173062"/>
                  </a:cubicBezTo>
                  <a:cubicBezTo>
                    <a:pt x="4194722" y="1160074"/>
                    <a:pt x="4176359" y="1147197"/>
                    <a:pt x="4157995" y="1134545"/>
                  </a:cubicBezTo>
                  <a:cubicBezTo>
                    <a:pt x="4011426" y="1031980"/>
                    <a:pt x="3855004" y="948562"/>
                    <a:pt x="3697126" y="881044"/>
                  </a:cubicBezTo>
                  <a:lnTo>
                    <a:pt x="3637670" y="856747"/>
                  </a:lnTo>
                  <a:lnTo>
                    <a:pt x="3608222" y="844318"/>
                  </a:lnTo>
                  <a:cubicBezTo>
                    <a:pt x="3598480" y="840063"/>
                    <a:pt x="3588179" y="837040"/>
                    <a:pt x="3578214" y="833457"/>
                  </a:cubicBezTo>
                  <a:lnTo>
                    <a:pt x="3518309" y="812294"/>
                  </a:lnTo>
                  <a:cubicBezTo>
                    <a:pt x="3513383" y="810503"/>
                    <a:pt x="3508344" y="808823"/>
                    <a:pt x="3503417" y="806920"/>
                  </a:cubicBezTo>
                  <a:cubicBezTo>
                    <a:pt x="3498603" y="804792"/>
                    <a:pt x="3494236" y="801993"/>
                    <a:pt x="3489533" y="799642"/>
                  </a:cubicBezTo>
                  <a:cubicBezTo>
                    <a:pt x="3480240" y="794827"/>
                    <a:pt x="3470498" y="791020"/>
                    <a:pt x="3460869" y="787101"/>
                  </a:cubicBezTo>
                  <a:lnTo>
                    <a:pt x="3402980" y="763475"/>
                  </a:lnTo>
                  <a:lnTo>
                    <a:pt x="3374092" y="751606"/>
                  </a:lnTo>
                  <a:cubicBezTo>
                    <a:pt x="3364462" y="747688"/>
                    <a:pt x="3354945" y="743433"/>
                    <a:pt x="3344980" y="740409"/>
                  </a:cubicBezTo>
                  <a:lnTo>
                    <a:pt x="3226627" y="700772"/>
                  </a:lnTo>
                  <a:cubicBezTo>
                    <a:pt x="3067405" y="652849"/>
                    <a:pt x="2902697" y="625192"/>
                    <a:pt x="2735750" y="614667"/>
                  </a:cubicBezTo>
                  <a:cubicBezTo>
                    <a:pt x="2714811" y="613435"/>
                    <a:pt x="2694209" y="610860"/>
                    <a:pt x="2673158" y="610412"/>
                  </a:cubicBezTo>
                  <a:lnTo>
                    <a:pt x="2610119" y="609628"/>
                  </a:lnTo>
                  <a:lnTo>
                    <a:pt x="2547080" y="608620"/>
                  </a:lnTo>
                  <a:cubicBezTo>
                    <a:pt x="2536443" y="608173"/>
                    <a:pt x="2526365" y="608397"/>
                    <a:pt x="2516400" y="608844"/>
                  </a:cubicBezTo>
                  <a:lnTo>
                    <a:pt x="2486280" y="609740"/>
                  </a:lnTo>
                  <a:cubicBezTo>
                    <a:pt x="2466125" y="609852"/>
                    <a:pt x="2446307" y="611868"/>
                    <a:pt x="2426376" y="613099"/>
                  </a:cubicBezTo>
                  <a:cubicBezTo>
                    <a:pt x="2406333" y="613995"/>
                    <a:pt x="2386627" y="616458"/>
                    <a:pt x="2366920" y="618474"/>
                  </a:cubicBezTo>
                  <a:cubicBezTo>
                    <a:pt x="2357066" y="619482"/>
                    <a:pt x="2347101" y="620153"/>
                    <a:pt x="2337248" y="621497"/>
                  </a:cubicBezTo>
                  <a:lnTo>
                    <a:pt x="2307800" y="625528"/>
                  </a:lnTo>
                  <a:lnTo>
                    <a:pt x="2278351" y="629559"/>
                  </a:lnTo>
                  <a:lnTo>
                    <a:pt x="2249127" y="634710"/>
                  </a:lnTo>
                  <a:cubicBezTo>
                    <a:pt x="2093377" y="661918"/>
                    <a:pt x="1942329" y="710849"/>
                    <a:pt x="1796096" y="781726"/>
                  </a:cubicBezTo>
                  <a:cubicBezTo>
                    <a:pt x="1649751" y="852268"/>
                    <a:pt x="1508892" y="944307"/>
                    <a:pt x="1370833" y="1048663"/>
                  </a:cubicBezTo>
                  <a:cubicBezTo>
                    <a:pt x="1232774" y="1153244"/>
                    <a:pt x="1097290" y="1269917"/>
                    <a:pt x="959790" y="1390844"/>
                  </a:cubicBezTo>
                  <a:lnTo>
                    <a:pt x="749062" y="1577611"/>
                  </a:lnTo>
                  <a:cubicBezTo>
                    <a:pt x="674602" y="1642329"/>
                    <a:pt x="599806" y="1704137"/>
                    <a:pt x="524786" y="1763145"/>
                  </a:cubicBezTo>
                  <a:cubicBezTo>
                    <a:pt x="374858" y="1881498"/>
                    <a:pt x="223810" y="1987422"/>
                    <a:pt x="84071" y="2098496"/>
                  </a:cubicBezTo>
                  <a:lnTo>
                    <a:pt x="0" y="2168094"/>
                  </a:lnTo>
                  <a:lnTo>
                    <a:pt x="0" y="1576676"/>
                  </a:lnTo>
                  <a:lnTo>
                    <a:pt x="174655" y="1387597"/>
                  </a:lnTo>
                  <a:cubicBezTo>
                    <a:pt x="238926" y="1320079"/>
                    <a:pt x="302749" y="1254577"/>
                    <a:pt x="363661" y="1188626"/>
                  </a:cubicBezTo>
                  <a:lnTo>
                    <a:pt x="458052" y="1086397"/>
                  </a:lnTo>
                  <a:cubicBezTo>
                    <a:pt x="490635" y="1051351"/>
                    <a:pt x="523666" y="1016416"/>
                    <a:pt x="557257" y="981593"/>
                  </a:cubicBezTo>
                  <a:cubicBezTo>
                    <a:pt x="691510" y="842414"/>
                    <a:pt x="835055" y="705699"/>
                    <a:pt x="994165" y="578389"/>
                  </a:cubicBezTo>
                  <a:cubicBezTo>
                    <a:pt x="1152939" y="451190"/>
                    <a:pt x="1328060" y="333398"/>
                    <a:pt x="1520873" y="237215"/>
                  </a:cubicBezTo>
                  <a:cubicBezTo>
                    <a:pt x="1713238" y="141033"/>
                    <a:pt x="1924302" y="68028"/>
                    <a:pt x="2141748" y="31190"/>
                  </a:cubicBezTo>
                  <a:lnTo>
                    <a:pt x="2182505" y="24360"/>
                  </a:lnTo>
                  <a:cubicBezTo>
                    <a:pt x="2196165" y="22344"/>
                    <a:pt x="2209826" y="20665"/>
                    <a:pt x="2223374" y="18873"/>
                  </a:cubicBezTo>
                  <a:lnTo>
                    <a:pt x="2264355" y="13611"/>
                  </a:lnTo>
                  <a:cubicBezTo>
                    <a:pt x="2278015" y="11931"/>
                    <a:pt x="2291676" y="10924"/>
                    <a:pt x="2305336" y="9580"/>
                  </a:cubicBezTo>
                  <a:cubicBezTo>
                    <a:pt x="2332657" y="7229"/>
                    <a:pt x="2360090" y="4653"/>
                    <a:pt x="2387410" y="3645"/>
                  </a:cubicBezTo>
                  <a:cubicBezTo>
                    <a:pt x="2414731" y="2414"/>
                    <a:pt x="2442164" y="510"/>
                    <a:pt x="2469373" y="622"/>
                  </a:cubicBezTo>
                  <a:close/>
                </a:path>
              </a:pathLst>
            </a:custGeom>
            <a:gradFill>
              <a:gsLst>
                <a:gs pos="37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C7BFCEA3-176E-5E27-A70E-5D3C20CEC6C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176241"/>
              <a:ext cx="5646908" cy="6130481"/>
            </a:xfrm>
            <a:custGeom>
              <a:avLst/>
              <a:gdLst>
                <a:gd name="connsiteX0" fmla="*/ 2616837 w 5646908"/>
                <a:gd name="connsiteY0" fmla="*/ 0 h 6130481"/>
                <a:gd name="connsiteX1" fmla="*/ 4918721 w 5646908"/>
                <a:gd name="connsiteY1" fmla="*/ 1134258 h 6130481"/>
                <a:gd name="connsiteX2" fmla="*/ 5539036 w 5646908"/>
                <a:gd name="connsiteY2" fmla="*/ 3362353 h 6130481"/>
                <a:gd name="connsiteX3" fmla="*/ 4712024 w 5646908"/>
                <a:gd name="connsiteY3" fmla="*/ 5293280 h 6130481"/>
                <a:gd name="connsiteX4" fmla="*/ 2547864 w 5646908"/>
                <a:gd name="connsiteY4" fmla="*/ 6130481 h 6130481"/>
                <a:gd name="connsiteX5" fmla="*/ 263223 w 5646908"/>
                <a:gd name="connsiteY5" fmla="*/ 5212325 h 6130481"/>
                <a:gd name="connsiteX6" fmla="*/ 49974 w 5646908"/>
                <a:gd name="connsiteY6" fmla="*/ 4985345 h 6130481"/>
                <a:gd name="connsiteX7" fmla="*/ 0 w 5646908"/>
                <a:gd name="connsiteY7" fmla="*/ 4920618 h 6130481"/>
                <a:gd name="connsiteX8" fmla="*/ 0 w 5646908"/>
                <a:gd name="connsiteY8" fmla="*/ 3760303 h 6130481"/>
                <a:gd name="connsiteX9" fmla="*/ 80488 w 5646908"/>
                <a:gd name="connsiteY9" fmla="*/ 3974159 h 6130481"/>
                <a:gd name="connsiteX10" fmla="*/ 664748 w 5646908"/>
                <a:gd name="connsiteY10" fmla="*/ 4813600 h 6130481"/>
                <a:gd name="connsiteX11" fmla="*/ 2548087 w 5646908"/>
                <a:gd name="connsiteY11" fmla="*/ 5570406 h 6130481"/>
                <a:gd name="connsiteX12" fmla="*/ 3536561 w 5646908"/>
                <a:gd name="connsiteY12" fmla="*/ 5407153 h 6130481"/>
                <a:gd name="connsiteX13" fmla="*/ 4308035 w 5646908"/>
                <a:gd name="connsiteY13" fmla="*/ 4897241 h 6130481"/>
                <a:gd name="connsiteX14" fmla="*/ 4569038 w 5646908"/>
                <a:gd name="connsiteY14" fmla="*/ 4564802 h 6130481"/>
                <a:gd name="connsiteX15" fmla="*/ 4699147 w 5646908"/>
                <a:gd name="connsiteY15" fmla="*/ 4149952 h 6130481"/>
                <a:gd name="connsiteX16" fmla="*/ 5003034 w 5646908"/>
                <a:gd name="connsiteY16" fmla="*/ 3168421 h 6130481"/>
                <a:gd name="connsiteX17" fmla="*/ 4994189 w 5646908"/>
                <a:gd name="connsiteY17" fmla="*/ 2321590 h 6130481"/>
                <a:gd name="connsiteX18" fmla="*/ 4487860 w 5646908"/>
                <a:gd name="connsiteY18" fmla="*/ 1501856 h 6130481"/>
                <a:gd name="connsiteX19" fmla="*/ 3640469 w 5646908"/>
                <a:gd name="connsiteY19" fmla="*/ 808425 h 6130481"/>
                <a:gd name="connsiteX20" fmla="*/ 2616837 w 5646908"/>
                <a:gd name="connsiteY20" fmla="*/ 559851 h 6130481"/>
                <a:gd name="connsiteX21" fmla="*/ 1762952 w 5646908"/>
                <a:gd name="connsiteY21" fmla="*/ 812008 h 6130481"/>
                <a:gd name="connsiteX22" fmla="*/ 939635 w 5646908"/>
                <a:gd name="connsiteY22" fmla="*/ 1502976 h 6130481"/>
                <a:gd name="connsiteX23" fmla="*/ 585250 w 5646908"/>
                <a:gd name="connsiteY23" fmla="*/ 1831049 h 6130481"/>
                <a:gd name="connsiteX24" fmla="*/ 40403 w 5646908"/>
                <a:gd name="connsiteY24" fmla="*/ 2389556 h 6130481"/>
                <a:gd name="connsiteX25" fmla="*/ 0 w 5646908"/>
                <a:gd name="connsiteY25" fmla="*/ 2456747 h 6130481"/>
                <a:gd name="connsiteX26" fmla="*/ 0 w 5646908"/>
                <a:gd name="connsiteY26" fmla="*/ 1601114 h 6130481"/>
                <a:gd name="connsiteX27" fmla="*/ 93200 w 5646908"/>
                <a:gd name="connsiteY27" fmla="*/ 1513741 h 6130481"/>
                <a:gd name="connsiteX28" fmla="*/ 535423 w 5646908"/>
                <a:gd name="connsiteY28" fmla="*/ 1107273 h 6130481"/>
                <a:gd name="connsiteX29" fmla="*/ 2616837 w 5646908"/>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46908" h="6130481">
                  <a:moveTo>
                    <a:pt x="2616837" y="0"/>
                  </a:moveTo>
                  <a:cubicBezTo>
                    <a:pt x="3596241" y="0"/>
                    <a:pt x="4322479" y="463445"/>
                    <a:pt x="4918721" y="1134258"/>
                  </a:cubicBezTo>
                  <a:cubicBezTo>
                    <a:pt x="5416317" y="1694109"/>
                    <a:pt x="5857703" y="2516643"/>
                    <a:pt x="5539036" y="3362353"/>
                  </a:cubicBezTo>
                  <a:cubicBezTo>
                    <a:pt x="5111758" y="4496612"/>
                    <a:pt x="5300763" y="4716633"/>
                    <a:pt x="4712024" y="5293280"/>
                  </a:cubicBezTo>
                  <a:cubicBezTo>
                    <a:pt x="4123284" y="5869926"/>
                    <a:pt x="3446201" y="6130481"/>
                    <a:pt x="2547864" y="6130481"/>
                  </a:cubicBezTo>
                  <a:cubicBezTo>
                    <a:pt x="1657476" y="6130481"/>
                    <a:pt x="850619" y="5780127"/>
                    <a:pt x="263223" y="5212325"/>
                  </a:cubicBezTo>
                  <a:cubicBezTo>
                    <a:pt x="188497" y="5140091"/>
                    <a:pt x="117321" y="5064339"/>
                    <a:pt x="49974" y="4985345"/>
                  </a:cubicBezTo>
                  <a:lnTo>
                    <a:pt x="0" y="4920618"/>
                  </a:lnTo>
                  <a:lnTo>
                    <a:pt x="0" y="3760303"/>
                  </a:lnTo>
                  <a:lnTo>
                    <a:pt x="80488" y="3974159"/>
                  </a:lnTo>
                  <a:cubicBezTo>
                    <a:pt x="217875" y="4289243"/>
                    <a:pt x="414383" y="4571632"/>
                    <a:pt x="664748" y="4813600"/>
                  </a:cubicBezTo>
                  <a:cubicBezTo>
                    <a:pt x="1169734" y="5301566"/>
                    <a:pt x="1838644" y="5570406"/>
                    <a:pt x="2548087" y="5570406"/>
                  </a:cubicBezTo>
                  <a:cubicBezTo>
                    <a:pt x="2928786" y="5570406"/>
                    <a:pt x="3252156" y="5516996"/>
                    <a:pt x="3536561" y="5407153"/>
                  </a:cubicBezTo>
                  <a:cubicBezTo>
                    <a:pt x="3815366" y="5299438"/>
                    <a:pt x="4067747" y="5132603"/>
                    <a:pt x="4308035" y="4897241"/>
                  </a:cubicBezTo>
                  <a:cubicBezTo>
                    <a:pt x="4475095" y="4733653"/>
                    <a:pt x="4533767" y="4637358"/>
                    <a:pt x="4569038" y="4564802"/>
                  </a:cubicBezTo>
                  <a:cubicBezTo>
                    <a:pt x="4619313" y="4461453"/>
                    <a:pt x="4652792" y="4330784"/>
                    <a:pt x="4699147" y="4149952"/>
                  </a:cubicBezTo>
                  <a:cubicBezTo>
                    <a:pt x="4758491" y="3918846"/>
                    <a:pt x="4839558" y="3602194"/>
                    <a:pt x="5003034" y="3168421"/>
                  </a:cubicBezTo>
                  <a:cubicBezTo>
                    <a:pt x="5103024" y="2902940"/>
                    <a:pt x="5100112" y="2626037"/>
                    <a:pt x="4994189" y="2321590"/>
                  </a:cubicBezTo>
                  <a:cubicBezTo>
                    <a:pt x="4900470" y="2052526"/>
                    <a:pt x="4725460" y="1769129"/>
                    <a:pt x="4487860" y="1501856"/>
                  </a:cubicBezTo>
                  <a:cubicBezTo>
                    <a:pt x="4210285" y="1189683"/>
                    <a:pt x="3933047" y="962832"/>
                    <a:pt x="3640469" y="808425"/>
                  </a:cubicBezTo>
                  <a:cubicBezTo>
                    <a:pt x="3323369" y="641141"/>
                    <a:pt x="2988578" y="559851"/>
                    <a:pt x="2616837" y="559851"/>
                  </a:cubicBezTo>
                  <a:cubicBezTo>
                    <a:pt x="2315413" y="559851"/>
                    <a:pt x="2044110" y="640134"/>
                    <a:pt x="1762952" y="812008"/>
                  </a:cubicBezTo>
                  <a:cubicBezTo>
                    <a:pt x="1472838" y="989593"/>
                    <a:pt x="1197167" y="1250707"/>
                    <a:pt x="939635" y="1502976"/>
                  </a:cubicBezTo>
                  <a:cubicBezTo>
                    <a:pt x="819379" y="1620769"/>
                    <a:pt x="700355" y="1727700"/>
                    <a:pt x="585250" y="1831049"/>
                  </a:cubicBezTo>
                  <a:cubicBezTo>
                    <a:pt x="362317" y="2031140"/>
                    <a:pt x="169840" y="2204022"/>
                    <a:pt x="40403" y="2389556"/>
                  </a:cubicBezTo>
                  <a:lnTo>
                    <a:pt x="0" y="2456747"/>
                  </a:lnTo>
                  <a:lnTo>
                    <a:pt x="0" y="1601114"/>
                  </a:lnTo>
                  <a:lnTo>
                    <a:pt x="93200" y="1513741"/>
                  </a:lnTo>
                  <a:cubicBezTo>
                    <a:pt x="237107" y="1383294"/>
                    <a:pt x="388238" y="1251435"/>
                    <a:pt x="535423" y="1107273"/>
                  </a:cubicBezTo>
                  <a:cubicBezTo>
                    <a:pt x="1124050" y="530627"/>
                    <a:pt x="1718500" y="0"/>
                    <a:pt x="2616837" y="0"/>
                  </a:cubicBezTo>
                  <a:close/>
                </a:path>
              </a:pathLst>
            </a:custGeom>
            <a:gradFill>
              <a:gsLst>
                <a:gs pos="2000">
                  <a:schemeClr val="bg1">
                    <a:alpha val="10000"/>
                  </a:schemeClr>
                </a:gs>
                <a:gs pos="54000">
                  <a:schemeClr val="accent6">
                    <a:alpha val="10000"/>
                  </a:schemeClr>
                </a:gs>
                <a:gs pos="100000">
                  <a:schemeClr val="bg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121D2002-AE93-81F5-AD1B-59DC171590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176241"/>
              <a:ext cx="5517522" cy="6130481"/>
            </a:xfrm>
            <a:custGeom>
              <a:avLst/>
              <a:gdLst>
                <a:gd name="connsiteX0" fmla="*/ 2549095 w 5517522"/>
                <a:gd name="connsiteY0" fmla="*/ 0 h 6130481"/>
                <a:gd name="connsiteX1" fmla="*/ 4804175 w 5517522"/>
                <a:gd name="connsiteY1" fmla="*/ 1134258 h 6130481"/>
                <a:gd name="connsiteX2" fmla="*/ 5411838 w 5517522"/>
                <a:gd name="connsiteY2" fmla="*/ 3362353 h 6130481"/>
                <a:gd name="connsiteX3" fmla="*/ 4601621 w 5517522"/>
                <a:gd name="connsiteY3" fmla="*/ 5293280 h 6130481"/>
                <a:gd name="connsiteX4" fmla="*/ 2481577 w 5517522"/>
                <a:gd name="connsiteY4" fmla="*/ 6130481 h 6130481"/>
                <a:gd name="connsiteX5" fmla="*/ 243517 w 5517522"/>
                <a:gd name="connsiteY5" fmla="*/ 5212325 h 6130481"/>
                <a:gd name="connsiteX6" fmla="*/ 34587 w 5517522"/>
                <a:gd name="connsiteY6" fmla="*/ 4985345 h 6130481"/>
                <a:gd name="connsiteX7" fmla="*/ 0 w 5517522"/>
                <a:gd name="connsiteY7" fmla="*/ 4939620 h 6130481"/>
                <a:gd name="connsiteX8" fmla="*/ 0 w 5517522"/>
                <a:gd name="connsiteY8" fmla="*/ 3335329 h 6130481"/>
                <a:gd name="connsiteX9" fmla="*/ 17141 w 5517522"/>
                <a:gd name="connsiteY9" fmla="*/ 3448738 h 6130481"/>
                <a:gd name="connsiteX10" fmla="*/ 167489 w 5517522"/>
                <a:gd name="connsiteY10" fmla="*/ 3930490 h 6130481"/>
                <a:gd name="connsiteX11" fmla="*/ 715471 w 5517522"/>
                <a:gd name="connsiteY11" fmla="*/ 4734212 h 6130481"/>
                <a:gd name="connsiteX12" fmla="*/ 2481689 w 5517522"/>
                <a:gd name="connsiteY12" fmla="*/ 5458772 h 6130481"/>
                <a:gd name="connsiteX13" fmla="*/ 4126644 w 5517522"/>
                <a:gd name="connsiteY13" fmla="*/ 4818302 h 6130481"/>
                <a:gd name="connsiteX14" fmla="*/ 4360437 w 5517522"/>
                <a:gd name="connsiteY14" fmla="*/ 4516766 h 6130481"/>
                <a:gd name="connsiteX15" fmla="*/ 4480357 w 5517522"/>
                <a:gd name="connsiteY15" fmla="*/ 4122855 h 6130481"/>
                <a:gd name="connsiteX16" fmla="*/ 4781557 w 5517522"/>
                <a:gd name="connsiteY16" fmla="*/ 3129791 h 6130481"/>
                <a:gd name="connsiteX17" fmla="*/ 4771928 w 5517522"/>
                <a:gd name="connsiteY17" fmla="*/ 2357869 h 6130481"/>
                <a:gd name="connsiteX18" fmla="*/ 4297510 w 5517522"/>
                <a:gd name="connsiteY18" fmla="*/ 1575533 h 6130481"/>
                <a:gd name="connsiteX19" fmla="*/ 3498715 w 5517522"/>
                <a:gd name="connsiteY19" fmla="*/ 907071 h 6130481"/>
                <a:gd name="connsiteX20" fmla="*/ 2549095 w 5517522"/>
                <a:gd name="connsiteY20" fmla="*/ 671821 h 6130481"/>
                <a:gd name="connsiteX21" fmla="*/ 985319 w 5517522"/>
                <a:gd name="connsiteY21" fmla="*/ 1582475 h 6130481"/>
                <a:gd name="connsiteX22" fmla="*/ 634628 w 5517522"/>
                <a:gd name="connsiteY22" fmla="*/ 1913907 h 6130481"/>
                <a:gd name="connsiteX23" fmla="*/ 117662 w 5517522"/>
                <a:gd name="connsiteY23" fmla="*/ 2453044 h 6130481"/>
                <a:gd name="connsiteX24" fmla="*/ 2515 w 5517522"/>
                <a:gd name="connsiteY24" fmla="*/ 2685494 h 6130481"/>
                <a:gd name="connsiteX25" fmla="*/ 0 w 5517522"/>
                <a:gd name="connsiteY25" fmla="*/ 2696965 h 6130481"/>
                <a:gd name="connsiteX26" fmla="*/ 0 w 5517522"/>
                <a:gd name="connsiteY26" fmla="*/ 1587383 h 6130481"/>
                <a:gd name="connsiteX27" fmla="*/ 76951 w 5517522"/>
                <a:gd name="connsiteY27" fmla="*/ 1513741 h 6130481"/>
                <a:gd name="connsiteX28" fmla="*/ 510118 w 5517522"/>
                <a:gd name="connsiteY28" fmla="*/ 1107273 h 6130481"/>
                <a:gd name="connsiteX29" fmla="*/ 2549095 w 5517522"/>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17522" h="6130481">
                  <a:moveTo>
                    <a:pt x="2549095" y="0"/>
                  </a:moveTo>
                  <a:cubicBezTo>
                    <a:pt x="3508568" y="0"/>
                    <a:pt x="4219915" y="463445"/>
                    <a:pt x="4804175" y="1134258"/>
                  </a:cubicBezTo>
                  <a:cubicBezTo>
                    <a:pt x="5291694" y="1694109"/>
                    <a:pt x="5724011" y="2516643"/>
                    <a:pt x="5411838" y="3362353"/>
                  </a:cubicBezTo>
                  <a:cubicBezTo>
                    <a:pt x="4993181" y="4496612"/>
                    <a:pt x="5178268" y="4716633"/>
                    <a:pt x="4601621" y="5293280"/>
                  </a:cubicBezTo>
                  <a:cubicBezTo>
                    <a:pt x="4024863" y="5869926"/>
                    <a:pt x="3361551" y="6130481"/>
                    <a:pt x="2481577" y="6130481"/>
                  </a:cubicBezTo>
                  <a:cubicBezTo>
                    <a:pt x="1609329" y="6130481"/>
                    <a:pt x="818932" y="5780127"/>
                    <a:pt x="243517" y="5212325"/>
                  </a:cubicBezTo>
                  <a:cubicBezTo>
                    <a:pt x="170302" y="5140091"/>
                    <a:pt x="100568" y="5064339"/>
                    <a:pt x="34587" y="4985345"/>
                  </a:cubicBezTo>
                  <a:lnTo>
                    <a:pt x="0" y="4939620"/>
                  </a:lnTo>
                  <a:lnTo>
                    <a:pt x="0" y="3335329"/>
                  </a:lnTo>
                  <a:lnTo>
                    <a:pt x="17141" y="3448738"/>
                  </a:lnTo>
                  <a:cubicBezTo>
                    <a:pt x="50676" y="3613558"/>
                    <a:pt x="100867" y="3774516"/>
                    <a:pt x="167489" y="3930490"/>
                  </a:cubicBezTo>
                  <a:cubicBezTo>
                    <a:pt x="296255" y="4232138"/>
                    <a:pt x="480670" y="4502546"/>
                    <a:pt x="715471" y="4734212"/>
                  </a:cubicBezTo>
                  <a:cubicBezTo>
                    <a:pt x="1188993" y="5201464"/>
                    <a:pt x="1816250" y="5458772"/>
                    <a:pt x="2481689" y="5458772"/>
                  </a:cubicBezTo>
                  <a:cubicBezTo>
                    <a:pt x="3185758" y="5458772"/>
                    <a:pt x="3677755" y="5267191"/>
                    <a:pt x="4126644" y="4818302"/>
                  </a:cubicBezTo>
                  <a:cubicBezTo>
                    <a:pt x="4278363" y="4666583"/>
                    <a:pt x="4329982" y="4580701"/>
                    <a:pt x="4360437" y="4516766"/>
                  </a:cubicBezTo>
                  <a:cubicBezTo>
                    <a:pt x="4404890" y="4423495"/>
                    <a:pt x="4436577" y="4297417"/>
                    <a:pt x="4480357" y="4122855"/>
                  </a:cubicBezTo>
                  <a:cubicBezTo>
                    <a:pt x="4539030" y="3889285"/>
                    <a:pt x="4619425" y="3569275"/>
                    <a:pt x="4781557" y="3129791"/>
                  </a:cubicBezTo>
                  <a:cubicBezTo>
                    <a:pt x="4870238" y="2889503"/>
                    <a:pt x="4867103" y="2637010"/>
                    <a:pt x="4771928" y="2357869"/>
                  </a:cubicBezTo>
                  <a:cubicBezTo>
                    <a:pt x="4684815" y="2102465"/>
                    <a:pt x="4520779" y="1831945"/>
                    <a:pt x="4297510" y="1575533"/>
                  </a:cubicBezTo>
                  <a:cubicBezTo>
                    <a:pt x="4034492" y="1273549"/>
                    <a:pt x="3773266" y="1054983"/>
                    <a:pt x="3498715" y="907071"/>
                  </a:cubicBezTo>
                  <a:cubicBezTo>
                    <a:pt x="3204905" y="748745"/>
                    <a:pt x="2894187" y="671821"/>
                    <a:pt x="2549095" y="671821"/>
                  </a:cubicBezTo>
                  <a:cubicBezTo>
                    <a:pt x="1942553" y="671821"/>
                    <a:pt x="1518298" y="1049273"/>
                    <a:pt x="985319" y="1582475"/>
                  </a:cubicBezTo>
                  <a:cubicBezTo>
                    <a:pt x="865735" y="1702059"/>
                    <a:pt x="748278" y="1809774"/>
                    <a:pt x="634628" y="1913907"/>
                  </a:cubicBezTo>
                  <a:cubicBezTo>
                    <a:pt x="421325" y="2109407"/>
                    <a:pt x="237134" y="2278146"/>
                    <a:pt x="117662" y="2453044"/>
                  </a:cubicBezTo>
                  <a:cubicBezTo>
                    <a:pt x="64756" y="2530415"/>
                    <a:pt x="27022" y="2605799"/>
                    <a:pt x="2515" y="2685494"/>
                  </a:cubicBezTo>
                  <a:lnTo>
                    <a:pt x="0" y="2696965"/>
                  </a:lnTo>
                  <a:lnTo>
                    <a:pt x="0" y="1587383"/>
                  </a:lnTo>
                  <a:lnTo>
                    <a:pt x="76951" y="1513741"/>
                  </a:lnTo>
                  <a:cubicBezTo>
                    <a:pt x="217918" y="1383294"/>
                    <a:pt x="365956" y="1251435"/>
                    <a:pt x="510118" y="1107273"/>
                  </a:cubicBezTo>
                  <a:cubicBezTo>
                    <a:pt x="1086764" y="530627"/>
                    <a:pt x="1669121" y="0"/>
                    <a:pt x="25490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Freeform: Shape 24">
              <a:extLst>
                <a:ext uri="{FF2B5EF4-FFF2-40B4-BE49-F238E27FC236}">
                  <a16:creationId xmlns:a16="http://schemas.microsoft.com/office/drawing/2014/main" id="{B6E6E21A-A6FC-4FA6-7E92-1EA9A369A1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76241"/>
              <a:ext cx="5517475" cy="6130481"/>
            </a:xfrm>
            <a:custGeom>
              <a:avLst/>
              <a:gdLst>
                <a:gd name="connsiteX0" fmla="*/ 2549095 w 5517475"/>
                <a:gd name="connsiteY0" fmla="*/ 0 h 6130481"/>
                <a:gd name="connsiteX1" fmla="*/ 4804175 w 5517475"/>
                <a:gd name="connsiteY1" fmla="*/ 1134258 h 6130481"/>
                <a:gd name="connsiteX2" fmla="*/ 5411838 w 5517475"/>
                <a:gd name="connsiteY2" fmla="*/ 3362353 h 6130481"/>
                <a:gd name="connsiteX3" fmla="*/ 4601621 w 5517475"/>
                <a:gd name="connsiteY3" fmla="*/ 5293280 h 6130481"/>
                <a:gd name="connsiteX4" fmla="*/ 2481577 w 5517475"/>
                <a:gd name="connsiteY4" fmla="*/ 6130481 h 6130481"/>
                <a:gd name="connsiteX5" fmla="*/ 243517 w 5517475"/>
                <a:gd name="connsiteY5" fmla="*/ 5212325 h 6130481"/>
                <a:gd name="connsiteX6" fmla="*/ 34587 w 5517475"/>
                <a:gd name="connsiteY6" fmla="*/ 4985345 h 6130481"/>
                <a:gd name="connsiteX7" fmla="*/ 0 w 5517475"/>
                <a:gd name="connsiteY7" fmla="*/ 4939620 h 6130481"/>
                <a:gd name="connsiteX8" fmla="*/ 0 w 5517475"/>
                <a:gd name="connsiteY8" fmla="*/ 3799573 h 6130481"/>
                <a:gd name="connsiteX9" fmla="*/ 64364 w 5517475"/>
                <a:gd name="connsiteY9" fmla="*/ 3974159 h 6130481"/>
                <a:gd name="connsiteX10" fmla="*/ 636644 w 5517475"/>
                <a:gd name="connsiteY10" fmla="*/ 4813600 h 6130481"/>
                <a:gd name="connsiteX11" fmla="*/ 2481577 w 5517475"/>
                <a:gd name="connsiteY11" fmla="*/ 5570406 h 6130481"/>
                <a:gd name="connsiteX12" fmla="*/ 3449896 w 5517475"/>
                <a:gd name="connsiteY12" fmla="*/ 5407153 h 6130481"/>
                <a:gd name="connsiteX13" fmla="*/ 4205695 w 5517475"/>
                <a:gd name="connsiteY13" fmla="*/ 4897241 h 6130481"/>
                <a:gd name="connsiteX14" fmla="*/ 4461434 w 5517475"/>
                <a:gd name="connsiteY14" fmla="*/ 4564802 h 6130481"/>
                <a:gd name="connsiteX15" fmla="*/ 4588969 w 5517475"/>
                <a:gd name="connsiteY15" fmla="*/ 4149952 h 6130481"/>
                <a:gd name="connsiteX16" fmla="*/ 4886585 w 5517475"/>
                <a:gd name="connsiteY16" fmla="*/ 3168421 h 6130481"/>
                <a:gd name="connsiteX17" fmla="*/ 4877964 w 5517475"/>
                <a:gd name="connsiteY17" fmla="*/ 2321590 h 6130481"/>
                <a:gd name="connsiteX18" fmla="*/ 4382048 w 5517475"/>
                <a:gd name="connsiteY18" fmla="*/ 1501856 h 6130481"/>
                <a:gd name="connsiteX19" fmla="*/ 3551900 w 5517475"/>
                <a:gd name="connsiteY19" fmla="*/ 808425 h 6130481"/>
                <a:gd name="connsiteX20" fmla="*/ 2549095 w 5517475"/>
                <a:gd name="connsiteY20" fmla="*/ 559851 h 6130481"/>
                <a:gd name="connsiteX21" fmla="*/ 1712566 w 5517475"/>
                <a:gd name="connsiteY21" fmla="*/ 812008 h 6130481"/>
                <a:gd name="connsiteX22" fmla="*/ 906044 w 5517475"/>
                <a:gd name="connsiteY22" fmla="*/ 1502976 h 6130481"/>
                <a:gd name="connsiteX23" fmla="*/ 558825 w 5517475"/>
                <a:gd name="connsiteY23" fmla="*/ 1831049 h 6130481"/>
                <a:gd name="connsiteX24" fmla="*/ 25063 w 5517475"/>
                <a:gd name="connsiteY24" fmla="*/ 2389556 h 6130481"/>
                <a:gd name="connsiteX25" fmla="*/ 0 w 5517475"/>
                <a:gd name="connsiteY25" fmla="*/ 2432109 h 6130481"/>
                <a:gd name="connsiteX26" fmla="*/ 0 w 5517475"/>
                <a:gd name="connsiteY26" fmla="*/ 1587383 h 6130481"/>
                <a:gd name="connsiteX27" fmla="*/ 76951 w 5517475"/>
                <a:gd name="connsiteY27" fmla="*/ 1513741 h 6130481"/>
                <a:gd name="connsiteX28" fmla="*/ 510118 w 5517475"/>
                <a:gd name="connsiteY28" fmla="*/ 1107273 h 6130481"/>
                <a:gd name="connsiteX29" fmla="*/ 2549095 w 5517475"/>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17475" h="6130481">
                  <a:moveTo>
                    <a:pt x="2549095" y="0"/>
                  </a:moveTo>
                  <a:cubicBezTo>
                    <a:pt x="3508568" y="0"/>
                    <a:pt x="4219915" y="463445"/>
                    <a:pt x="4804175" y="1134258"/>
                  </a:cubicBezTo>
                  <a:cubicBezTo>
                    <a:pt x="5291694" y="1694109"/>
                    <a:pt x="5723899" y="2516643"/>
                    <a:pt x="5411838" y="3362353"/>
                  </a:cubicBezTo>
                  <a:cubicBezTo>
                    <a:pt x="4993181" y="4496612"/>
                    <a:pt x="5178268" y="4716633"/>
                    <a:pt x="4601621" y="5293280"/>
                  </a:cubicBezTo>
                  <a:cubicBezTo>
                    <a:pt x="4024863" y="5869926"/>
                    <a:pt x="3361551" y="6130481"/>
                    <a:pt x="2481577" y="6130481"/>
                  </a:cubicBezTo>
                  <a:cubicBezTo>
                    <a:pt x="1609329" y="6130481"/>
                    <a:pt x="818932" y="5780127"/>
                    <a:pt x="243517" y="5212325"/>
                  </a:cubicBezTo>
                  <a:cubicBezTo>
                    <a:pt x="170302" y="5140091"/>
                    <a:pt x="100568" y="5064339"/>
                    <a:pt x="34587" y="4985345"/>
                  </a:cubicBezTo>
                  <a:lnTo>
                    <a:pt x="0" y="4939620"/>
                  </a:lnTo>
                  <a:lnTo>
                    <a:pt x="0" y="3799573"/>
                  </a:lnTo>
                  <a:lnTo>
                    <a:pt x="64364" y="3974159"/>
                  </a:lnTo>
                  <a:cubicBezTo>
                    <a:pt x="198841" y="4289243"/>
                    <a:pt x="391429" y="4571632"/>
                    <a:pt x="636644" y="4813600"/>
                  </a:cubicBezTo>
                  <a:cubicBezTo>
                    <a:pt x="1131328" y="5301566"/>
                    <a:pt x="1786578" y="5570406"/>
                    <a:pt x="2481577" y="5570406"/>
                  </a:cubicBezTo>
                  <a:cubicBezTo>
                    <a:pt x="2854550" y="5570406"/>
                    <a:pt x="3171314" y="5516996"/>
                    <a:pt x="3449896" y="5407153"/>
                  </a:cubicBezTo>
                  <a:cubicBezTo>
                    <a:pt x="3723103" y="5299438"/>
                    <a:pt x="3970333" y="5132603"/>
                    <a:pt x="4205695" y="4897241"/>
                  </a:cubicBezTo>
                  <a:cubicBezTo>
                    <a:pt x="4369395" y="4733653"/>
                    <a:pt x="4426836" y="4637358"/>
                    <a:pt x="4461434" y="4564802"/>
                  </a:cubicBezTo>
                  <a:cubicBezTo>
                    <a:pt x="4510701" y="4461453"/>
                    <a:pt x="4543509" y="4330784"/>
                    <a:pt x="4588969" y="4149952"/>
                  </a:cubicBezTo>
                  <a:cubicBezTo>
                    <a:pt x="4646969" y="3918846"/>
                    <a:pt x="4726468" y="3602194"/>
                    <a:pt x="4886585" y="3168421"/>
                  </a:cubicBezTo>
                  <a:cubicBezTo>
                    <a:pt x="4984560" y="2902940"/>
                    <a:pt x="4981760" y="2626037"/>
                    <a:pt x="4877964" y="2321590"/>
                  </a:cubicBezTo>
                  <a:cubicBezTo>
                    <a:pt x="4786260" y="2052526"/>
                    <a:pt x="4614834" y="1769129"/>
                    <a:pt x="4382048" y="1501856"/>
                  </a:cubicBezTo>
                  <a:cubicBezTo>
                    <a:pt x="4110072" y="1189683"/>
                    <a:pt x="3838544" y="962832"/>
                    <a:pt x="3551900" y="808425"/>
                  </a:cubicBezTo>
                  <a:cubicBezTo>
                    <a:pt x="3241183" y="641141"/>
                    <a:pt x="2913222" y="559851"/>
                    <a:pt x="2549095" y="559851"/>
                  </a:cubicBezTo>
                  <a:cubicBezTo>
                    <a:pt x="2253830" y="559851"/>
                    <a:pt x="1988013" y="640134"/>
                    <a:pt x="1712566" y="812008"/>
                  </a:cubicBezTo>
                  <a:cubicBezTo>
                    <a:pt x="1428385" y="989593"/>
                    <a:pt x="1158313" y="1250707"/>
                    <a:pt x="906044" y="1502976"/>
                  </a:cubicBezTo>
                  <a:cubicBezTo>
                    <a:pt x="788140" y="1620769"/>
                    <a:pt x="671579" y="1727700"/>
                    <a:pt x="558825" y="1831049"/>
                  </a:cubicBezTo>
                  <a:cubicBezTo>
                    <a:pt x="340371" y="2031140"/>
                    <a:pt x="151813" y="2204022"/>
                    <a:pt x="25063" y="2389556"/>
                  </a:cubicBezTo>
                  <a:lnTo>
                    <a:pt x="0" y="2432109"/>
                  </a:lnTo>
                  <a:lnTo>
                    <a:pt x="0" y="1587383"/>
                  </a:lnTo>
                  <a:lnTo>
                    <a:pt x="76951" y="1513741"/>
                  </a:lnTo>
                  <a:cubicBezTo>
                    <a:pt x="217918" y="1383294"/>
                    <a:pt x="365956" y="1251435"/>
                    <a:pt x="510118" y="1107273"/>
                  </a:cubicBezTo>
                  <a:cubicBezTo>
                    <a:pt x="1086764" y="530627"/>
                    <a:pt x="1669121" y="0"/>
                    <a:pt x="25490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Freeform: Shape 25">
              <a:extLst>
                <a:ext uri="{FF2B5EF4-FFF2-40B4-BE49-F238E27FC236}">
                  <a16:creationId xmlns:a16="http://schemas.microsoft.com/office/drawing/2014/main" id="{7881DC43-C668-9ACD-2EB5-309AD3FCD8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0"/>
              <a:ext cx="5646974" cy="6483075"/>
            </a:xfrm>
            <a:custGeom>
              <a:avLst/>
              <a:gdLst>
                <a:gd name="connsiteX0" fmla="*/ 2405773 w 5646974"/>
                <a:gd name="connsiteY0" fmla="*/ 0 h 6483075"/>
                <a:gd name="connsiteX1" fmla="*/ 5646974 w 5646974"/>
                <a:gd name="connsiteY1" fmla="*/ 3241538 h 6483075"/>
                <a:gd name="connsiteX2" fmla="*/ 2405773 w 5646974"/>
                <a:gd name="connsiteY2" fmla="*/ 6483075 h 6483075"/>
                <a:gd name="connsiteX3" fmla="*/ 113897 w 5646974"/>
                <a:gd name="connsiteY3" fmla="*/ 5533666 h 6483075"/>
                <a:gd name="connsiteX4" fmla="*/ 0 w 5646974"/>
                <a:gd name="connsiteY4" fmla="*/ 5408336 h 6483075"/>
                <a:gd name="connsiteX5" fmla="*/ 0 w 5646974"/>
                <a:gd name="connsiteY5" fmla="*/ 4983659 h 6483075"/>
                <a:gd name="connsiteX6" fmla="*/ 155731 w 5646974"/>
                <a:gd name="connsiteY6" fmla="*/ 5176047 h 6483075"/>
                <a:gd name="connsiteX7" fmla="*/ 1093706 w 5646974"/>
                <a:gd name="connsiteY7" fmla="*/ 5866903 h 6483075"/>
                <a:gd name="connsiteX8" fmla="*/ 1639673 w 5646974"/>
                <a:gd name="connsiteY8" fmla="*/ 6059940 h 6483075"/>
                <a:gd name="connsiteX9" fmla="*/ 1709990 w 5646974"/>
                <a:gd name="connsiteY9" fmla="*/ 6076287 h 6483075"/>
                <a:gd name="connsiteX10" fmla="*/ 1780307 w 5646974"/>
                <a:gd name="connsiteY10" fmla="*/ 6091963 h 6483075"/>
                <a:gd name="connsiteX11" fmla="*/ 1851072 w 5646974"/>
                <a:gd name="connsiteY11" fmla="*/ 6105176 h 6483075"/>
                <a:gd name="connsiteX12" fmla="*/ 1886455 w 5646974"/>
                <a:gd name="connsiteY12" fmla="*/ 6111782 h 6483075"/>
                <a:gd name="connsiteX13" fmla="*/ 1921949 w 5646974"/>
                <a:gd name="connsiteY13" fmla="*/ 6117716 h 6483075"/>
                <a:gd name="connsiteX14" fmla="*/ 2064152 w 5646974"/>
                <a:gd name="connsiteY14" fmla="*/ 6137647 h 6483075"/>
                <a:gd name="connsiteX15" fmla="*/ 2206914 w 5646974"/>
                <a:gd name="connsiteY15" fmla="*/ 6151195 h 6483075"/>
                <a:gd name="connsiteX16" fmla="*/ 2350011 w 5646974"/>
                <a:gd name="connsiteY16" fmla="*/ 6158250 h 6483075"/>
                <a:gd name="connsiteX17" fmla="*/ 2493109 w 5646974"/>
                <a:gd name="connsiteY17" fmla="*/ 6159705 h 6483075"/>
                <a:gd name="connsiteX18" fmla="*/ 2781321 w 5646974"/>
                <a:gd name="connsiteY18" fmla="*/ 6147277 h 6483075"/>
                <a:gd name="connsiteX19" fmla="*/ 3345091 w 5646974"/>
                <a:gd name="connsiteY19" fmla="*/ 6060276 h 6483075"/>
                <a:gd name="connsiteX20" fmla="*/ 3878853 w 5646974"/>
                <a:gd name="connsiteY20" fmla="*/ 5871718 h 6483075"/>
                <a:gd name="connsiteX21" fmla="*/ 4367267 w 5646974"/>
                <a:gd name="connsiteY21" fmla="*/ 5573093 h 6483075"/>
                <a:gd name="connsiteX22" fmla="*/ 4424484 w 5646974"/>
                <a:gd name="connsiteY22" fmla="*/ 5528529 h 6483075"/>
                <a:gd name="connsiteX23" fmla="*/ 4481252 w 5646974"/>
                <a:gd name="connsiteY23" fmla="*/ 5483069 h 6483075"/>
                <a:gd name="connsiteX24" fmla="*/ 4536790 w 5646974"/>
                <a:gd name="connsiteY24" fmla="*/ 5435818 h 6483075"/>
                <a:gd name="connsiteX25" fmla="*/ 4591543 w 5646974"/>
                <a:gd name="connsiteY25" fmla="*/ 5387671 h 6483075"/>
                <a:gd name="connsiteX26" fmla="*/ 4794209 w 5646974"/>
                <a:gd name="connsiteY26" fmla="*/ 5181198 h 6483075"/>
                <a:gd name="connsiteX27" fmla="*/ 4956678 w 5646974"/>
                <a:gd name="connsiteY27" fmla="*/ 4945836 h 6483075"/>
                <a:gd name="connsiteX28" fmla="*/ 4989262 w 5646974"/>
                <a:gd name="connsiteY28" fmla="*/ 4881453 h 6483075"/>
                <a:gd name="connsiteX29" fmla="*/ 5017814 w 5646974"/>
                <a:gd name="connsiteY29" fmla="*/ 4814607 h 6483075"/>
                <a:gd name="connsiteX30" fmla="*/ 5044127 w 5646974"/>
                <a:gd name="connsiteY30" fmla="*/ 4746193 h 6483075"/>
                <a:gd name="connsiteX31" fmla="*/ 5068425 w 5646974"/>
                <a:gd name="connsiteY31" fmla="*/ 4676436 h 6483075"/>
                <a:gd name="connsiteX32" fmla="*/ 5154641 w 5646974"/>
                <a:gd name="connsiteY32" fmla="*/ 4390352 h 6483075"/>
                <a:gd name="connsiteX33" fmla="*/ 5196854 w 5646974"/>
                <a:gd name="connsiteY33" fmla="*/ 4246134 h 6483075"/>
                <a:gd name="connsiteX34" fmla="*/ 5240299 w 5646974"/>
                <a:gd name="connsiteY34" fmla="*/ 4102140 h 6483075"/>
                <a:gd name="connsiteX35" fmla="*/ 5432440 w 5646974"/>
                <a:gd name="connsiteY35" fmla="*/ 3532884 h 6483075"/>
                <a:gd name="connsiteX36" fmla="*/ 5528846 w 5646974"/>
                <a:gd name="connsiteY36" fmla="*/ 2951647 h 6483075"/>
                <a:gd name="connsiteX37" fmla="*/ 5495927 w 5646974"/>
                <a:gd name="connsiteY37" fmla="*/ 2658733 h 6483075"/>
                <a:gd name="connsiteX38" fmla="*/ 5480027 w 5646974"/>
                <a:gd name="connsiteY38" fmla="*/ 2586848 h 6483075"/>
                <a:gd name="connsiteX39" fmla="*/ 5461328 w 5646974"/>
                <a:gd name="connsiteY39" fmla="*/ 2515635 h 6483075"/>
                <a:gd name="connsiteX40" fmla="*/ 5439605 w 5646974"/>
                <a:gd name="connsiteY40" fmla="*/ 2445317 h 6483075"/>
                <a:gd name="connsiteX41" fmla="*/ 5415532 w 5646974"/>
                <a:gd name="connsiteY41" fmla="*/ 2375896 h 6483075"/>
                <a:gd name="connsiteX42" fmla="*/ 5144564 w 5646974"/>
                <a:gd name="connsiteY42" fmla="*/ 1857138 h 6483075"/>
                <a:gd name="connsiteX43" fmla="*/ 4774838 w 5646974"/>
                <a:gd name="connsiteY43" fmla="*/ 1405450 h 6483075"/>
                <a:gd name="connsiteX44" fmla="*/ 4345769 w 5646974"/>
                <a:gd name="connsiteY44" fmla="*/ 1012323 h 6483075"/>
                <a:gd name="connsiteX45" fmla="*/ 4115334 w 5646974"/>
                <a:gd name="connsiteY45" fmla="*/ 841344 h 6483075"/>
                <a:gd name="connsiteX46" fmla="*/ 3874038 w 5646974"/>
                <a:gd name="connsiteY46" fmla="*/ 691528 h 6483075"/>
                <a:gd name="connsiteX47" fmla="*/ 3359535 w 5646974"/>
                <a:gd name="connsiteY47" fmla="*/ 468819 h 6483075"/>
                <a:gd name="connsiteX48" fmla="*/ 2811105 w 5646974"/>
                <a:gd name="connsiteY48" fmla="*/ 366031 h 6483075"/>
                <a:gd name="connsiteX49" fmla="*/ 2741124 w 5646974"/>
                <a:gd name="connsiteY49" fmla="*/ 361440 h 6483075"/>
                <a:gd name="connsiteX50" fmla="*/ 2671030 w 5646974"/>
                <a:gd name="connsiteY50" fmla="*/ 358417 h 6483075"/>
                <a:gd name="connsiteX51" fmla="*/ 2600713 w 5646974"/>
                <a:gd name="connsiteY51" fmla="*/ 357521 h 6483075"/>
                <a:gd name="connsiteX52" fmla="*/ 2531739 w 5646974"/>
                <a:gd name="connsiteY52" fmla="*/ 358529 h 6483075"/>
                <a:gd name="connsiteX53" fmla="*/ 2259988 w 5646974"/>
                <a:gd name="connsiteY53" fmla="*/ 385289 h 6483075"/>
                <a:gd name="connsiteX54" fmla="*/ 1740670 w 5646974"/>
                <a:gd name="connsiteY54" fmla="*/ 553917 h 6483075"/>
                <a:gd name="connsiteX55" fmla="*/ 1264124 w 5646974"/>
                <a:gd name="connsiteY55" fmla="*/ 853549 h 6483075"/>
                <a:gd name="connsiteX56" fmla="*/ 823074 w 5646974"/>
                <a:gd name="connsiteY56" fmla="*/ 1234136 h 6483075"/>
                <a:gd name="connsiteX57" fmla="*/ 715694 w 5646974"/>
                <a:gd name="connsiteY57" fmla="*/ 1336252 h 6483075"/>
                <a:gd name="connsiteX58" fmla="*/ 606859 w 5646974"/>
                <a:gd name="connsiteY58" fmla="*/ 1440945 h 6483075"/>
                <a:gd name="connsiteX59" fmla="*/ 382023 w 5646974"/>
                <a:gd name="connsiteY59" fmla="*/ 1646074 h 6483075"/>
                <a:gd name="connsiteX60" fmla="*/ 158531 w 5646974"/>
                <a:gd name="connsiteY60" fmla="*/ 1843813 h 6483075"/>
                <a:gd name="connsiteX61" fmla="*/ 0 w 5646974"/>
                <a:gd name="connsiteY61" fmla="*/ 1991775 h 6483075"/>
                <a:gd name="connsiteX62" fmla="*/ 0 w 5646974"/>
                <a:gd name="connsiteY62" fmla="*/ 1074740 h 6483075"/>
                <a:gd name="connsiteX63" fmla="*/ 113897 w 5646974"/>
                <a:gd name="connsiteY63" fmla="*/ 949410 h 6483075"/>
                <a:gd name="connsiteX64" fmla="*/ 2405773 w 5646974"/>
                <a:gd name="connsiteY64" fmla="*/ 0 h 648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646974" h="6483075">
                  <a:moveTo>
                    <a:pt x="2405773" y="0"/>
                  </a:moveTo>
                  <a:cubicBezTo>
                    <a:pt x="4195841" y="0"/>
                    <a:pt x="5646974" y="1451246"/>
                    <a:pt x="5646974" y="3241538"/>
                  </a:cubicBezTo>
                  <a:cubicBezTo>
                    <a:pt x="5646974" y="5031830"/>
                    <a:pt x="4195841" y="6483075"/>
                    <a:pt x="2405773" y="6483075"/>
                  </a:cubicBezTo>
                  <a:cubicBezTo>
                    <a:pt x="1510739" y="6483075"/>
                    <a:pt x="700439" y="6120264"/>
                    <a:pt x="113897" y="5533666"/>
                  </a:cubicBezTo>
                  <a:lnTo>
                    <a:pt x="0" y="5408336"/>
                  </a:lnTo>
                  <a:lnTo>
                    <a:pt x="0" y="4983659"/>
                  </a:lnTo>
                  <a:lnTo>
                    <a:pt x="155731" y="5176047"/>
                  </a:lnTo>
                  <a:cubicBezTo>
                    <a:pt x="417742" y="5469073"/>
                    <a:pt x="741224" y="5704211"/>
                    <a:pt x="1093706" y="5866903"/>
                  </a:cubicBezTo>
                  <a:cubicBezTo>
                    <a:pt x="1269947" y="5948418"/>
                    <a:pt x="1453018" y="6013137"/>
                    <a:pt x="1639673" y="6059940"/>
                  </a:cubicBezTo>
                  <a:lnTo>
                    <a:pt x="1709990" y="6076287"/>
                  </a:lnTo>
                  <a:cubicBezTo>
                    <a:pt x="1733504" y="6081550"/>
                    <a:pt x="1756570" y="6088156"/>
                    <a:pt x="1780307" y="6091963"/>
                  </a:cubicBezTo>
                  <a:lnTo>
                    <a:pt x="1851072" y="6105176"/>
                  </a:lnTo>
                  <a:lnTo>
                    <a:pt x="1886455" y="6111782"/>
                  </a:lnTo>
                  <a:cubicBezTo>
                    <a:pt x="1898212" y="6114021"/>
                    <a:pt x="1909969" y="6116373"/>
                    <a:pt x="1921949" y="6117716"/>
                  </a:cubicBezTo>
                  <a:cubicBezTo>
                    <a:pt x="1969425" y="6124323"/>
                    <a:pt x="2016676" y="6131489"/>
                    <a:pt x="2064152" y="6137647"/>
                  </a:cubicBezTo>
                  <a:cubicBezTo>
                    <a:pt x="2111851" y="6141790"/>
                    <a:pt x="2159438" y="6146381"/>
                    <a:pt x="2206914" y="6151195"/>
                  </a:cubicBezTo>
                  <a:lnTo>
                    <a:pt x="2350011" y="6158250"/>
                  </a:lnTo>
                  <a:cubicBezTo>
                    <a:pt x="2397711" y="6159593"/>
                    <a:pt x="2445410" y="6159146"/>
                    <a:pt x="2493109" y="6159705"/>
                  </a:cubicBezTo>
                  <a:cubicBezTo>
                    <a:pt x="2589068" y="6158137"/>
                    <a:pt x="2685922" y="6154666"/>
                    <a:pt x="2781321" y="6147277"/>
                  </a:cubicBezTo>
                  <a:cubicBezTo>
                    <a:pt x="2972566" y="6132944"/>
                    <a:pt x="3161348" y="6105288"/>
                    <a:pt x="3345091" y="6060276"/>
                  </a:cubicBezTo>
                  <a:cubicBezTo>
                    <a:pt x="3528834" y="6015375"/>
                    <a:pt x="3707539" y="5952785"/>
                    <a:pt x="3878853" y="5871718"/>
                  </a:cubicBezTo>
                  <a:cubicBezTo>
                    <a:pt x="4050167" y="5790428"/>
                    <a:pt x="4213084" y="5689318"/>
                    <a:pt x="4367267" y="5573093"/>
                  </a:cubicBezTo>
                  <a:lnTo>
                    <a:pt x="4424484" y="5528529"/>
                  </a:lnTo>
                  <a:cubicBezTo>
                    <a:pt x="4443631" y="5513637"/>
                    <a:pt x="4463113" y="5499193"/>
                    <a:pt x="4481252" y="5483069"/>
                  </a:cubicBezTo>
                  <a:lnTo>
                    <a:pt x="4536790" y="5435818"/>
                  </a:lnTo>
                  <a:cubicBezTo>
                    <a:pt x="4555265" y="5419918"/>
                    <a:pt x="4574188" y="5404466"/>
                    <a:pt x="4591543" y="5387671"/>
                  </a:cubicBezTo>
                  <a:cubicBezTo>
                    <a:pt x="4662980" y="5321944"/>
                    <a:pt x="4733074" y="5254650"/>
                    <a:pt x="4794209" y="5181198"/>
                  </a:cubicBezTo>
                  <a:cubicBezTo>
                    <a:pt x="4857808" y="5109089"/>
                    <a:pt x="4910434" y="5029926"/>
                    <a:pt x="4956678" y="4945836"/>
                  </a:cubicBezTo>
                  <a:cubicBezTo>
                    <a:pt x="4967651" y="4924450"/>
                    <a:pt x="4978624" y="4903064"/>
                    <a:pt x="4989262" y="4881453"/>
                  </a:cubicBezTo>
                  <a:lnTo>
                    <a:pt x="5017814" y="4814607"/>
                  </a:lnTo>
                  <a:cubicBezTo>
                    <a:pt x="5027891" y="4792549"/>
                    <a:pt x="5035393" y="4769035"/>
                    <a:pt x="5044127" y="4746193"/>
                  </a:cubicBezTo>
                  <a:cubicBezTo>
                    <a:pt x="5052636" y="4723128"/>
                    <a:pt x="5061146" y="4700174"/>
                    <a:pt x="5068425" y="4676436"/>
                  </a:cubicBezTo>
                  <a:cubicBezTo>
                    <a:pt x="5099552" y="4582717"/>
                    <a:pt x="5126985" y="4486422"/>
                    <a:pt x="5154641" y="4390352"/>
                  </a:cubicBezTo>
                  <a:lnTo>
                    <a:pt x="5196854" y="4246134"/>
                  </a:lnTo>
                  <a:lnTo>
                    <a:pt x="5240299" y="4102140"/>
                  </a:lnTo>
                  <a:cubicBezTo>
                    <a:pt x="5299195" y="3910560"/>
                    <a:pt x="5364697" y="3721330"/>
                    <a:pt x="5432440" y="3532884"/>
                  </a:cubicBezTo>
                  <a:cubicBezTo>
                    <a:pt x="5500294" y="3346902"/>
                    <a:pt x="5533549" y="3148714"/>
                    <a:pt x="5528846" y="2951647"/>
                  </a:cubicBezTo>
                  <a:cubicBezTo>
                    <a:pt x="5526831" y="2853113"/>
                    <a:pt x="5515409" y="2755027"/>
                    <a:pt x="5495927" y="2658733"/>
                  </a:cubicBezTo>
                  <a:cubicBezTo>
                    <a:pt x="5491112" y="2634659"/>
                    <a:pt x="5486297" y="2610585"/>
                    <a:pt x="5480027" y="2586848"/>
                  </a:cubicBezTo>
                  <a:cubicBezTo>
                    <a:pt x="5474205" y="2562998"/>
                    <a:pt x="5468718" y="2539036"/>
                    <a:pt x="5461328" y="2515635"/>
                  </a:cubicBezTo>
                  <a:cubicBezTo>
                    <a:pt x="5454386" y="2492009"/>
                    <a:pt x="5447668" y="2468495"/>
                    <a:pt x="5439605" y="2445317"/>
                  </a:cubicBezTo>
                  <a:cubicBezTo>
                    <a:pt x="5431879" y="2422028"/>
                    <a:pt x="5424378" y="2398738"/>
                    <a:pt x="5415532" y="2375896"/>
                  </a:cubicBezTo>
                  <a:cubicBezTo>
                    <a:pt x="5347790" y="2191817"/>
                    <a:pt x="5254071" y="2018599"/>
                    <a:pt x="5144564" y="1857138"/>
                  </a:cubicBezTo>
                  <a:cubicBezTo>
                    <a:pt x="5034946" y="1695565"/>
                    <a:pt x="4909762" y="1545301"/>
                    <a:pt x="4774838" y="1405450"/>
                  </a:cubicBezTo>
                  <a:cubicBezTo>
                    <a:pt x="4638907" y="1265040"/>
                    <a:pt x="4496145" y="1132131"/>
                    <a:pt x="4345769" y="1012323"/>
                  </a:cubicBezTo>
                  <a:cubicBezTo>
                    <a:pt x="4270749" y="952195"/>
                    <a:pt x="4194273" y="894642"/>
                    <a:pt x="4115334" y="841344"/>
                  </a:cubicBezTo>
                  <a:cubicBezTo>
                    <a:pt x="4037067" y="787263"/>
                    <a:pt x="3956336" y="737548"/>
                    <a:pt x="3874038" y="691528"/>
                  </a:cubicBezTo>
                  <a:cubicBezTo>
                    <a:pt x="3709554" y="599712"/>
                    <a:pt x="3537792" y="523349"/>
                    <a:pt x="3359535" y="468819"/>
                  </a:cubicBezTo>
                  <a:cubicBezTo>
                    <a:pt x="3181278" y="414514"/>
                    <a:pt x="2997311" y="380699"/>
                    <a:pt x="2811105" y="366031"/>
                  </a:cubicBezTo>
                  <a:cubicBezTo>
                    <a:pt x="2787703" y="364575"/>
                    <a:pt x="2764525" y="362448"/>
                    <a:pt x="2741124" y="361440"/>
                  </a:cubicBezTo>
                  <a:lnTo>
                    <a:pt x="2671030" y="358417"/>
                  </a:lnTo>
                  <a:lnTo>
                    <a:pt x="2600713" y="357521"/>
                  </a:lnTo>
                  <a:cubicBezTo>
                    <a:pt x="2577087" y="356961"/>
                    <a:pt x="2554805" y="358305"/>
                    <a:pt x="2531739" y="358529"/>
                  </a:cubicBezTo>
                  <a:cubicBezTo>
                    <a:pt x="2440259" y="360992"/>
                    <a:pt x="2349564" y="370285"/>
                    <a:pt x="2259988" y="385289"/>
                  </a:cubicBezTo>
                  <a:cubicBezTo>
                    <a:pt x="2080723" y="415521"/>
                    <a:pt x="1906945" y="473634"/>
                    <a:pt x="1740670" y="553917"/>
                  </a:cubicBezTo>
                  <a:cubicBezTo>
                    <a:pt x="1574506" y="634647"/>
                    <a:pt x="1415844" y="737100"/>
                    <a:pt x="1264124" y="853549"/>
                  </a:cubicBezTo>
                  <a:cubicBezTo>
                    <a:pt x="1112181" y="969886"/>
                    <a:pt x="966508" y="1099212"/>
                    <a:pt x="823074" y="1234136"/>
                  </a:cubicBezTo>
                  <a:cubicBezTo>
                    <a:pt x="787131" y="1267951"/>
                    <a:pt x="751413" y="1301990"/>
                    <a:pt x="715694" y="1336252"/>
                  </a:cubicBezTo>
                  <a:lnTo>
                    <a:pt x="606859" y="1440945"/>
                  </a:lnTo>
                  <a:cubicBezTo>
                    <a:pt x="532623" y="1511374"/>
                    <a:pt x="457267" y="1579452"/>
                    <a:pt x="382023" y="1646074"/>
                  </a:cubicBezTo>
                  <a:lnTo>
                    <a:pt x="158531" y="1843813"/>
                  </a:lnTo>
                  <a:lnTo>
                    <a:pt x="0" y="1991775"/>
                  </a:lnTo>
                  <a:lnTo>
                    <a:pt x="0" y="1074740"/>
                  </a:lnTo>
                  <a:lnTo>
                    <a:pt x="113897" y="949410"/>
                  </a:lnTo>
                  <a:cubicBezTo>
                    <a:pt x="700439" y="362812"/>
                    <a:pt x="1510739" y="0"/>
                    <a:pt x="2405773" y="0"/>
                  </a:cubicBezTo>
                  <a:close/>
                </a:path>
              </a:pathLst>
            </a:custGeom>
            <a:gradFill>
              <a:gsLst>
                <a:gs pos="2000">
                  <a:schemeClr val="bg1">
                    <a:alpha val="10000"/>
                  </a:schemeClr>
                </a:gs>
                <a:gs pos="16000">
                  <a:schemeClr val="accent6">
                    <a:alpha val="10000"/>
                  </a:schemeClr>
                </a:gs>
                <a:gs pos="100000">
                  <a:schemeClr val="bg1">
                    <a:alpha val="10000"/>
                  </a:schemeClr>
                </a:gs>
                <a:gs pos="74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Title 1">
            <a:extLst>
              <a:ext uri="{FF2B5EF4-FFF2-40B4-BE49-F238E27FC236}">
                <a16:creationId xmlns:a16="http://schemas.microsoft.com/office/drawing/2014/main" id="{CC7A4929-A259-6F7B-AC15-3098787A05F0}"/>
              </a:ext>
            </a:extLst>
          </p:cNvPr>
          <p:cNvSpPr>
            <a:spLocks noGrp="1"/>
          </p:cNvSpPr>
          <p:nvPr>
            <p:ph type="title"/>
          </p:nvPr>
        </p:nvSpPr>
        <p:spPr>
          <a:xfrm>
            <a:off x="680583" y="2048951"/>
            <a:ext cx="3669161" cy="2760098"/>
          </a:xfrm>
        </p:spPr>
        <p:txBody>
          <a:bodyPr>
            <a:normAutofit/>
          </a:bodyPr>
          <a:lstStyle/>
          <a:p>
            <a:pPr algn="ctr"/>
            <a:r>
              <a:rPr lang="en-US" sz="4000">
                <a:solidFill>
                  <a:schemeClr val="tx2"/>
                </a:solidFill>
                <a:hlinkClick r:id="rId2"/>
              </a:rPr>
              <a:t>Community Resource Toolkit</a:t>
            </a:r>
            <a:r>
              <a:rPr lang="en-US" sz="4000">
                <a:solidFill>
                  <a:schemeClr val="tx2"/>
                </a:solidFill>
              </a:rPr>
              <a:t> </a:t>
            </a:r>
            <a:r>
              <a:rPr lang="en-US" sz="3200">
                <a:solidFill>
                  <a:schemeClr val="tx2"/>
                </a:solidFill>
              </a:rPr>
              <a:t>for Supporting Immigrant Families</a:t>
            </a:r>
            <a:endParaRPr lang="en-US" sz="4000">
              <a:solidFill>
                <a:schemeClr val="tx2"/>
              </a:solidFill>
            </a:endParaRPr>
          </a:p>
        </p:txBody>
      </p:sp>
      <p:sp>
        <p:nvSpPr>
          <p:cNvPr id="3" name="Content Placeholder 2">
            <a:extLst>
              <a:ext uri="{FF2B5EF4-FFF2-40B4-BE49-F238E27FC236}">
                <a16:creationId xmlns:a16="http://schemas.microsoft.com/office/drawing/2014/main" id="{24AD3967-CB5F-1A7B-6CB0-E18BEE548F29}"/>
              </a:ext>
            </a:extLst>
          </p:cNvPr>
          <p:cNvSpPr>
            <a:spLocks noGrp="1"/>
          </p:cNvSpPr>
          <p:nvPr>
            <p:ph idx="1"/>
          </p:nvPr>
        </p:nvSpPr>
        <p:spPr>
          <a:xfrm>
            <a:off x="5932714" y="801866"/>
            <a:ext cx="5804834" cy="5230634"/>
          </a:xfrm>
          <a:noFill/>
          <a:ln>
            <a:noFill/>
          </a:ln>
        </p:spPr>
        <p:txBody>
          <a:bodyPr anchor="ctr">
            <a:normAutofit/>
          </a:bodyPr>
          <a:lstStyle/>
          <a:p>
            <a:r>
              <a:rPr lang="en-US" sz="2400" b="1">
                <a:solidFill>
                  <a:schemeClr val="tx2"/>
                </a:solidFill>
                <a:hlinkClick r:id="rId3"/>
              </a:rPr>
              <a:t>Community-Based Organizations Resources</a:t>
            </a:r>
            <a:endParaRPr lang="en-US" sz="2400" b="1">
              <a:solidFill>
                <a:schemeClr val="tx2"/>
              </a:solidFill>
            </a:endParaRPr>
          </a:p>
          <a:p>
            <a:r>
              <a:rPr lang="en-US" sz="2400" b="1">
                <a:solidFill>
                  <a:schemeClr val="tx2"/>
                </a:solidFill>
                <a:hlinkClick r:id="rId4"/>
              </a:rPr>
              <a:t>Family-Facing Resources</a:t>
            </a:r>
            <a:endParaRPr lang="en-US" sz="2400" b="1">
              <a:solidFill>
                <a:schemeClr val="tx2"/>
              </a:solidFill>
            </a:endParaRPr>
          </a:p>
          <a:p>
            <a:r>
              <a:rPr lang="en-US" sz="2400" b="1">
                <a:solidFill>
                  <a:schemeClr val="tx2"/>
                </a:solidFill>
                <a:hlinkClick r:id="rId5"/>
              </a:rPr>
              <a:t>ORI Community Meeting Request Form</a:t>
            </a:r>
            <a:endParaRPr lang="en-US" sz="1800" b="1">
              <a:solidFill>
                <a:schemeClr val="tx2"/>
              </a:solidFill>
            </a:endParaRPr>
          </a:p>
          <a:p>
            <a:pPr lvl="1"/>
            <a:r>
              <a:rPr lang="en-US">
                <a:solidFill>
                  <a:schemeClr val="tx2"/>
                </a:solidFill>
              </a:rPr>
              <a:t>ORI can join existing meetings to: </a:t>
            </a:r>
          </a:p>
          <a:p>
            <a:pPr lvl="2"/>
            <a:r>
              <a:rPr lang="en-US" sz="2400">
                <a:solidFill>
                  <a:schemeClr val="tx2"/>
                </a:solidFill>
              </a:rPr>
              <a:t>Listen to community concerns  </a:t>
            </a:r>
          </a:p>
          <a:p>
            <a:pPr lvl="2"/>
            <a:r>
              <a:rPr lang="en-US" sz="2400">
                <a:solidFill>
                  <a:schemeClr val="tx2"/>
                </a:solidFill>
              </a:rPr>
              <a:t>Assess needs around essential services, housing, food access, health, and other supports </a:t>
            </a:r>
          </a:p>
          <a:p>
            <a:pPr lvl="2"/>
            <a:r>
              <a:rPr lang="en-US" sz="2400">
                <a:solidFill>
                  <a:schemeClr val="tx2"/>
                </a:solidFill>
              </a:rPr>
              <a:t>Connect families and providers to legal services, behavioral health care, and other trusted resources </a:t>
            </a:r>
          </a:p>
        </p:txBody>
      </p:sp>
      <p:sp>
        <p:nvSpPr>
          <p:cNvPr id="5" name="TextBox 4">
            <a:extLst>
              <a:ext uri="{FF2B5EF4-FFF2-40B4-BE49-F238E27FC236}">
                <a16:creationId xmlns:a16="http://schemas.microsoft.com/office/drawing/2014/main" id="{6DD4938D-58E6-8E43-F09E-59694F4F7E27}"/>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910862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BD43D-BEF9-B70C-4B1D-8043DED9521E}"/>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19ECB882-BED6-4B43-8840-A138250BB74F}"/>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0C1BF3EB-EDCE-7F0D-48D6-2A3626DE2092}"/>
              </a:ext>
            </a:extLst>
          </p:cNvPr>
          <p:cNvSpPr>
            <a:spLocks noGrp="1"/>
          </p:cNvSpPr>
          <p:nvPr>
            <p:ph type="title"/>
          </p:nvPr>
        </p:nvSpPr>
        <p:spPr>
          <a:xfrm>
            <a:off x="554736" y="-731520"/>
            <a:ext cx="10602418" cy="731520"/>
          </a:xfrm>
        </p:spPr>
        <p:txBody>
          <a:bodyPr vert="horz" wrap="square" lIns="0" tIns="0" rIns="0" bIns="0" rtlCol="0" anchor="b" anchorCtr="0">
            <a:noAutofit/>
          </a:bodyPr>
          <a:lstStyle/>
          <a:p>
            <a:r>
              <a:rPr lang="en-US" dirty="0"/>
              <a:t>Legal Representation Fund</a:t>
            </a:r>
          </a:p>
        </p:txBody>
      </p:sp>
    </p:spTree>
    <p:extLst>
      <p:ext uri="{BB962C8B-B14F-4D97-AF65-F5344CB8AC3E}">
        <p14:creationId xmlns:p14="http://schemas.microsoft.com/office/powerpoint/2010/main" val="3997386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D5ED2-8930-F44A-F12B-4ECE3028BD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1D067E-7F42-6616-A41C-8363D99306AF}"/>
              </a:ext>
            </a:extLst>
          </p:cNvPr>
          <p:cNvSpPr>
            <a:spLocks noGrp="1"/>
          </p:cNvSpPr>
          <p:nvPr>
            <p:ph type="title"/>
          </p:nvPr>
        </p:nvSpPr>
        <p:spPr>
          <a:xfrm>
            <a:off x="554736" y="172212"/>
            <a:ext cx="10602418" cy="731520"/>
          </a:xfrm>
        </p:spPr>
        <p:txBody>
          <a:bodyPr wrap="square" anchor="b">
            <a:normAutofit/>
          </a:bodyPr>
          <a:lstStyle/>
          <a:p>
            <a:r>
              <a:rPr lang="en-US"/>
              <a:t>When to Reach Out to ORI or MA AGO CJU</a:t>
            </a:r>
          </a:p>
        </p:txBody>
      </p:sp>
      <p:graphicFrame>
        <p:nvGraphicFramePr>
          <p:cNvPr id="9" name="Content Placeholder 4">
            <a:extLst>
              <a:ext uri="{FF2B5EF4-FFF2-40B4-BE49-F238E27FC236}">
                <a16:creationId xmlns:a16="http://schemas.microsoft.com/office/drawing/2014/main" id="{680835E4-E36B-1F41-1D9A-E7FDF150B92A}"/>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649902815"/>
              </p:ext>
            </p:extLst>
          </p:nvPr>
        </p:nvGraphicFramePr>
        <p:xfrm>
          <a:off x="554735" y="1219200"/>
          <a:ext cx="11180065" cy="5153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205FC3FE-C86E-C46A-8A1B-3EEB10A026B3}"/>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1003268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9D479-1F07-16C7-0135-87C17F288F77}"/>
              </a:ext>
            </a:extLst>
          </p:cNvPr>
          <p:cNvSpPr>
            <a:spLocks noGrp="1"/>
          </p:cNvSpPr>
          <p:nvPr>
            <p:ph type="title"/>
          </p:nvPr>
        </p:nvSpPr>
        <p:spPr/>
        <p:txBody>
          <a:bodyPr/>
          <a:lstStyle/>
          <a:p>
            <a:r>
              <a:rPr lang="en-US"/>
              <a:t>Immigration Attorney Referral Resources</a:t>
            </a:r>
          </a:p>
        </p:txBody>
      </p:sp>
      <p:sp>
        <p:nvSpPr>
          <p:cNvPr id="3" name="Content Placeholder 2">
            <a:extLst>
              <a:ext uri="{FF2B5EF4-FFF2-40B4-BE49-F238E27FC236}">
                <a16:creationId xmlns:a16="http://schemas.microsoft.com/office/drawing/2014/main" id="{F3E08102-71F6-30D2-1ED6-DE7BD1AB5CD6}"/>
              </a:ext>
            </a:extLst>
          </p:cNvPr>
          <p:cNvSpPr>
            <a:spLocks noGrp="1"/>
          </p:cNvSpPr>
          <p:nvPr>
            <p:ph sz="quarter" idx="11"/>
          </p:nvPr>
        </p:nvSpPr>
        <p:spPr>
          <a:xfrm>
            <a:off x="554037" y="1822819"/>
            <a:ext cx="5438775" cy="4285789"/>
          </a:xfrm>
        </p:spPr>
        <p:txBody>
          <a:bodyPr/>
          <a:lstStyle/>
          <a:p>
            <a:pPr marL="342900" marR="0" lvl="0" indent="-342900">
              <a:spcBef>
                <a:spcPts val="0"/>
              </a:spcBef>
              <a:spcAft>
                <a:spcPts val="0"/>
              </a:spcAft>
              <a:buFont typeface="Symbol" panose="05050102010706020507" pitchFamily="18" charset="2"/>
              <a:buChar char=""/>
            </a:pPr>
            <a:r>
              <a:rPr lang="en-US" sz="2000">
                <a:effectLst/>
                <a:latin typeface="Aptos" panose="020B0004020202020204" pitchFamily="34" charset="0"/>
                <a:ea typeface="Times New Roman" panose="02020603050405020304" pitchFamily="18" charset="0"/>
                <a:cs typeface="Aptos" panose="020B0004020202020204" pitchFamily="34" charset="0"/>
              </a:rPr>
              <a:t>Immigration Court list of legal services: </a:t>
            </a:r>
            <a:r>
              <a:rPr lang="en-US" sz="2000"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2"/>
              </a:rPr>
              <a:t>https://www.justice.gov/eoir/list-pro-bono-legal-service-providers</a:t>
            </a:r>
            <a:endParaRPr lang="en-US" sz="20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endParaRPr lang="en-US" sz="20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a:effectLst/>
                <a:latin typeface="Aptos" panose="020B0004020202020204" pitchFamily="34" charset="0"/>
                <a:ea typeface="Times New Roman" panose="02020603050405020304" pitchFamily="18" charset="0"/>
                <a:cs typeface="Aptos" panose="020B0004020202020204" pitchFamily="34" charset="0"/>
              </a:rPr>
              <a:t>City of Boston free immigration consultations: </a:t>
            </a:r>
            <a:r>
              <a:rPr lang="en-US" sz="2000"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3"/>
              </a:rPr>
              <a:t>https://www.boston.gov/departments/immigrant-advancement/free-immigration-consultations</a:t>
            </a:r>
            <a:endParaRPr lang="en-US" sz="200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r>
              <a:rPr lang="en-US" sz="2000">
                <a:effectLst/>
                <a:latin typeface="Aptos" panose="020B0004020202020204" pitchFamily="34" charset="0"/>
                <a:ea typeface="Aptos" panose="020B0004020202020204" pitchFamily="34" charset="0"/>
                <a:cs typeface="Aptos" panose="020B0004020202020204" pitchFamily="34" charset="0"/>
              </a:rPr>
              <a:t> </a:t>
            </a:r>
          </a:p>
          <a:p>
            <a:pPr marL="342900" marR="0" lvl="0" indent="-342900">
              <a:spcBef>
                <a:spcPts val="0"/>
              </a:spcBef>
              <a:spcAft>
                <a:spcPts val="0"/>
              </a:spcAft>
              <a:buFont typeface="Symbol" panose="05050102010706020507" pitchFamily="18" charset="2"/>
              <a:buChar char=""/>
            </a:pPr>
            <a:r>
              <a:rPr lang="en-US" sz="2000">
                <a:effectLst/>
                <a:latin typeface="Aptos" panose="020B0004020202020204" pitchFamily="34" charset="0"/>
                <a:ea typeface="Times New Roman" panose="02020603050405020304" pitchFamily="18" charset="0"/>
                <a:cs typeface="Aptos" panose="020B0004020202020204" pitchFamily="34" charset="0"/>
              </a:rPr>
              <a:t>MIRA immigration Helpline: </a:t>
            </a:r>
            <a:r>
              <a:rPr lang="en-US" sz="2000"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4"/>
              </a:rPr>
              <a:t>https://miracoalition.org/news/immigration-helpline/</a:t>
            </a:r>
            <a:endParaRPr lang="en-US" sz="20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endParaRPr lang="en-US" sz="1800">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4" name="Content Placeholder 3">
            <a:extLst>
              <a:ext uri="{FF2B5EF4-FFF2-40B4-BE49-F238E27FC236}">
                <a16:creationId xmlns:a16="http://schemas.microsoft.com/office/drawing/2014/main" id="{D70A330F-FF33-B61A-B9F3-0F6EB5194BCF}"/>
              </a:ext>
            </a:extLst>
          </p:cNvPr>
          <p:cNvSpPr>
            <a:spLocks noGrp="1"/>
          </p:cNvSpPr>
          <p:nvPr>
            <p:ph sz="quarter" idx="12"/>
          </p:nvPr>
        </p:nvSpPr>
        <p:spPr>
          <a:xfrm>
            <a:off x="6199190" y="1575941"/>
            <a:ext cx="5438775" cy="3670236"/>
          </a:xfrm>
        </p:spPr>
        <p:txBody>
          <a:bodyPr/>
          <a:lstStyle/>
          <a:p>
            <a:pPr marL="0" marR="0" indent="0">
              <a:spcBef>
                <a:spcPts val="0"/>
              </a:spcBef>
              <a:spcAft>
                <a:spcPts val="0"/>
              </a:spcAft>
              <a:buNone/>
            </a:pPr>
            <a:endParaRPr lang="en-US" sz="18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a:effectLst/>
                <a:latin typeface="Aptos" panose="020B0004020202020204" pitchFamily="34" charset="0"/>
                <a:ea typeface="Times New Roman" panose="02020603050405020304" pitchFamily="18" charset="0"/>
                <a:cs typeface="Aptos" panose="020B0004020202020204" pitchFamily="34" charset="0"/>
              </a:rPr>
              <a:t>Massachusetts Legal Resource Finder: </a:t>
            </a:r>
            <a:r>
              <a:rPr lang="en-US" sz="2000"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5"/>
              </a:rPr>
              <a:t>https://masslrf.org/en/home</a:t>
            </a:r>
            <a:endParaRPr lang="en-US" sz="200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endParaRPr lang="en-US" sz="20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a:effectLst/>
                <a:latin typeface="Aptos" panose="020B0004020202020204" pitchFamily="34" charset="0"/>
                <a:ea typeface="Times New Roman" panose="02020603050405020304" pitchFamily="18" charset="0"/>
                <a:cs typeface="Aptos" panose="020B0004020202020204" pitchFamily="34" charset="0"/>
              </a:rPr>
              <a:t>The American Immigration Lawyers Association’s online directory: </a:t>
            </a:r>
            <a:r>
              <a:rPr lang="en-US" sz="2000"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6"/>
              </a:rPr>
              <a:t>https://www.ailalawyer.com/</a:t>
            </a:r>
            <a:endParaRPr lang="en-US" sz="200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endParaRPr lang="en-US" sz="20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a:effectLst/>
                <a:latin typeface="Aptos" panose="020B0004020202020204" pitchFamily="34" charset="0"/>
                <a:ea typeface="Times New Roman" panose="02020603050405020304" pitchFamily="18" charset="0"/>
                <a:cs typeface="Aptos" panose="020B0004020202020204" pitchFamily="34" charset="0"/>
              </a:rPr>
              <a:t>The National Immigration Project of the National Lawyers Guild’s “Find an Attorney” website: </a:t>
            </a:r>
            <a:r>
              <a:rPr lang="en-US" sz="2000"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7"/>
              </a:rPr>
              <a:t>https://nipnlg.org/work/find-attorney</a:t>
            </a:r>
            <a:endParaRPr lang="en-US" sz="2000">
              <a:effectLst/>
              <a:latin typeface="Aptos" panose="020B0004020202020204" pitchFamily="34" charset="0"/>
              <a:ea typeface="Aptos" panose="020B0004020202020204" pitchFamily="34" charset="0"/>
              <a:cs typeface="Aptos" panose="020B0004020202020204" pitchFamily="34" charset="0"/>
            </a:endParaRPr>
          </a:p>
          <a:p>
            <a:endParaRPr lang="en-US"/>
          </a:p>
        </p:txBody>
      </p:sp>
    </p:spTree>
    <p:extLst>
      <p:ext uri="{BB962C8B-B14F-4D97-AF65-F5344CB8AC3E}">
        <p14:creationId xmlns:p14="http://schemas.microsoft.com/office/powerpoint/2010/main" val="3952810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C4C6C-522A-7096-2648-4DE1DF6B9C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7579003-0161-FDCB-A3BE-31B76F4AFD07}"/>
              </a:ext>
            </a:extLst>
          </p:cNvPr>
          <p:cNvSpPr>
            <a:spLocks noGrp="1"/>
          </p:cNvSpPr>
          <p:nvPr>
            <p:ph type="title"/>
          </p:nvPr>
        </p:nvSpPr>
        <p:spPr>
          <a:xfrm>
            <a:off x="554736" y="172212"/>
            <a:ext cx="10602418" cy="731520"/>
          </a:xfrm>
        </p:spPr>
        <p:txBody>
          <a:bodyPr vert="horz" wrap="square" lIns="0" tIns="0" rIns="0" bIns="0" rtlCol="0" anchor="ctr" anchorCtr="0">
            <a:noAutofit/>
          </a:bodyPr>
          <a:lstStyle/>
          <a:p>
            <a:r>
              <a:rPr lang="en-US" sz="2800" b="1" kern="1200" spc="0" baseline="0">
                <a:ln w="6350" cap="flat">
                  <a:noFill/>
                  <a:miter lim="800000"/>
                </a:ln>
                <a:latin typeface="+mj-lt"/>
                <a:ea typeface="+mj-ea"/>
                <a:cs typeface="+mj-cs"/>
              </a:rPr>
              <a:t>Guidance Regarding Public Schools’ Obligations to Protect Students and Their Information</a:t>
            </a:r>
          </a:p>
        </p:txBody>
      </p:sp>
      <p:sp>
        <p:nvSpPr>
          <p:cNvPr id="56" name="TextBox 55">
            <a:extLst>
              <a:ext uri="{FF2B5EF4-FFF2-40B4-BE49-F238E27FC236}">
                <a16:creationId xmlns:a16="http://schemas.microsoft.com/office/drawing/2014/main" id="{8FC1BE1B-19CC-FEC9-3C8A-7C565AB1E3D4}"/>
              </a:ext>
            </a:extLst>
          </p:cNvPr>
          <p:cNvSpPr txBox="1"/>
          <p:nvPr/>
        </p:nvSpPr>
        <p:spPr>
          <a:xfrm>
            <a:off x="554037" y="1101337"/>
            <a:ext cx="11082528" cy="276999"/>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pic>
        <p:nvPicPr>
          <p:cNvPr id="4" name="Picture 3">
            <a:extLst>
              <a:ext uri="{FF2B5EF4-FFF2-40B4-BE49-F238E27FC236}">
                <a16:creationId xmlns:a16="http://schemas.microsoft.com/office/drawing/2014/main" id="{36EE1ADC-0415-A2CF-B986-82239E71291D}"/>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54037" y="1378336"/>
            <a:ext cx="7982253" cy="4490570"/>
          </a:xfrm>
          <a:prstGeom prst="rect">
            <a:avLst/>
          </a:prstGeom>
        </p:spPr>
      </p:pic>
      <p:sp>
        <p:nvSpPr>
          <p:cNvPr id="5" name="Rectangle 4">
            <a:extLst>
              <a:ext uri="{FF2B5EF4-FFF2-40B4-BE49-F238E27FC236}">
                <a16:creationId xmlns:a16="http://schemas.microsoft.com/office/drawing/2014/main" id="{D6E09079-F4A1-4CFD-6E8C-83245C772EDD}"/>
              </a:ext>
            </a:extLst>
          </p:cNvPr>
          <p:cNvSpPr/>
          <p:nvPr/>
        </p:nvSpPr>
        <p:spPr>
          <a:xfrm>
            <a:off x="8387443" y="2999015"/>
            <a:ext cx="2424792" cy="242479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cs typeface="Arial"/>
              </a:rPr>
              <a:t>QR Code</a:t>
            </a:r>
            <a:endParaRPr lang="en-US" sz="1600" err="1">
              <a:solidFill>
                <a:schemeClr val="bg1"/>
              </a:solidFill>
            </a:endParaRPr>
          </a:p>
        </p:txBody>
      </p:sp>
      <p:pic>
        <p:nvPicPr>
          <p:cNvPr id="7" name="Picture 6" descr="QR Code to letter on Guidance Regarding K-12 Schools' Obligations to Protect Students and their Information">
            <a:extLst>
              <a:ext uri="{FF2B5EF4-FFF2-40B4-BE49-F238E27FC236}">
                <a16:creationId xmlns:a16="http://schemas.microsoft.com/office/drawing/2014/main" id="{DD44D8EB-1CFE-B12F-5324-82EFD72933A9}"/>
              </a:ext>
            </a:extLst>
          </p:cNvPr>
          <p:cNvPicPr>
            <a:picLocks noChangeAspect="1"/>
          </p:cNvPicPr>
          <p:nvPr/>
        </p:nvPicPr>
        <p:blipFill>
          <a:blip r:embed="rId3"/>
          <a:stretch>
            <a:fillRect/>
          </a:stretch>
        </p:blipFill>
        <p:spPr>
          <a:xfrm>
            <a:off x="8461595" y="3094182"/>
            <a:ext cx="2288445" cy="2228273"/>
          </a:xfrm>
          <a:prstGeom prst="rect">
            <a:avLst/>
          </a:prstGeom>
        </p:spPr>
      </p:pic>
      <p:sp>
        <p:nvSpPr>
          <p:cNvPr id="9" name="TextBox 10">
            <a:extLst>
              <a:ext uri="{FF2B5EF4-FFF2-40B4-BE49-F238E27FC236}">
                <a16:creationId xmlns:a16="http://schemas.microsoft.com/office/drawing/2014/main" id="{EA2D646A-61B1-0742-2FFA-76A5C71C1A20}"/>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400" b="1">
                <a:cs typeface="Arial"/>
              </a:rPr>
              <a:t>This presentation is for informational purposes only. For legal advice, please contact an attorney.</a:t>
            </a:r>
          </a:p>
        </p:txBody>
      </p:sp>
    </p:spTree>
    <p:extLst>
      <p:ext uri="{BB962C8B-B14F-4D97-AF65-F5344CB8AC3E}">
        <p14:creationId xmlns:p14="http://schemas.microsoft.com/office/powerpoint/2010/main" val="29279068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C4C6C-522A-7096-2648-4DE1DF6B9C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7579003-0161-FDCB-A3BE-31B76F4AFD07}"/>
              </a:ext>
            </a:extLst>
          </p:cNvPr>
          <p:cNvSpPr>
            <a:spLocks noGrp="1"/>
          </p:cNvSpPr>
          <p:nvPr>
            <p:ph type="title"/>
          </p:nvPr>
        </p:nvSpPr>
        <p:spPr>
          <a:xfrm>
            <a:off x="554736" y="172212"/>
            <a:ext cx="10602418" cy="731520"/>
          </a:xfrm>
        </p:spPr>
        <p:txBody>
          <a:bodyPr vert="horz" wrap="square" lIns="0" tIns="0" rIns="0" bIns="0" rtlCol="0" anchor="ctr" anchorCtr="0">
            <a:noAutofit/>
          </a:bodyPr>
          <a:lstStyle/>
          <a:p>
            <a:r>
              <a:rPr lang="en-US" sz="2800" b="1" kern="1200" spc="0" baseline="0">
                <a:ln w="6350" cap="flat">
                  <a:noFill/>
                  <a:miter lim="800000"/>
                </a:ln>
                <a:latin typeface="+mj-lt"/>
                <a:ea typeface="+mj-ea"/>
                <a:cs typeface="+mj-cs"/>
              </a:rPr>
              <a:t>Know Your Rights Guidance Regarding </a:t>
            </a:r>
            <a:r>
              <a:rPr lang="en-US" sz="2800"/>
              <a:t>ICE Enforcement for Immigrants, Families, and Communities</a:t>
            </a:r>
            <a:endParaRPr lang="en-US" sz="2800" b="1" kern="1200" spc="0" baseline="0">
              <a:ln w="6350" cap="flat">
                <a:noFill/>
                <a:miter lim="800000"/>
              </a:ln>
              <a:latin typeface="+mj-lt"/>
              <a:cs typeface="Arial"/>
            </a:endParaRPr>
          </a:p>
        </p:txBody>
      </p:sp>
      <p:sp>
        <p:nvSpPr>
          <p:cNvPr id="56" name="TextBox 55">
            <a:extLst>
              <a:ext uri="{FF2B5EF4-FFF2-40B4-BE49-F238E27FC236}">
                <a16:creationId xmlns:a16="http://schemas.microsoft.com/office/drawing/2014/main" id="{8FC1BE1B-19CC-FEC9-3C8A-7C565AB1E3D4}"/>
              </a:ext>
            </a:extLst>
          </p:cNvPr>
          <p:cNvSpPr txBox="1"/>
          <p:nvPr/>
        </p:nvSpPr>
        <p:spPr>
          <a:xfrm>
            <a:off x="554037" y="1101337"/>
            <a:ext cx="11082528" cy="276999"/>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pic>
        <p:nvPicPr>
          <p:cNvPr id="10" name="Picture 9" descr="Screenshot of letter from The Comonwealth of Massachusetts Office of The Attorney General">
            <a:extLst>
              <a:ext uri="{FF2B5EF4-FFF2-40B4-BE49-F238E27FC236}">
                <a16:creationId xmlns:a16="http://schemas.microsoft.com/office/drawing/2014/main" id="{58240A9B-525C-EC77-2480-2C0C8656D39B}"/>
              </a:ext>
            </a:extLst>
          </p:cNvPr>
          <p:cNvPicPr>
            <a:picLocks noChangeAspect="1"/>
          </p:cNvPicPr>
          <p:nvPr/>
        </p:nvPicPr>
        <p:blipFill>
          <a:blip r:embed="rId2"/>
          <a:stretch>
            <a:fillRect/>
          </a:stretch>
        </p:blipFill>
        <p:spPr>
          <a:xfrm>
            <a:off x="287047" y="1575941"/>
            <a:ext cx="8100396" cy="4211400"/>
          </a:xfrm>
          <a:prstGeom prst="rect">
            <a:avLst/>
          </a:prstGeom>
        </p:spPr>
      </p:pic>
      <p:sp>
        <p:nvSpPr>
          <p:cNvPr id="5" name="Rectangle 4">
            <a:extLst>
              <a:ext uri="{FF2B5EF4-FFF2-40B4-BE49-F238E27FC236}">
                <a16:creationId xmlns:a16="http://schemas.microsoft.com/office/drawing/2014/main" id="{D6E09079-F4A1-4CFD-6E8C-83245C772EDD}"/>
              </a:ext>
            </a:extLst>
          </p:cNvPr>
          <p:cNvSpPr/>
          <p:nvPr/>
        </p:nvSpPr>
        <p:spPr>
          <a:xfrm>
            <a:off x="8387443" y="2999015"/>
            <a:ext cx="2424792" cy="242479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cs typeface="Arial"/>
              </a:rPr>
              <a:t>QR Code</a:t>
            </a:r>
            <a:endParaRPr lang="en-US" sz="1600" err="1">
              <a:solidFill>
                <a:schemeClr val="bg1"/>
              </a:solidFill>
            </a:endParaRPr>
          </a:p>
        </p:txBody>
      </p:sp>
      <p:pic>
        <p:nvPicPr>
          <p:cNvPr id="2" name="Content Placeholder 1" descr="QR Code to Resources for Immigrants in Massachusetts">
            <a:extLst>
              <a:ext uri="{FF2B5EF4-FFF2-40B4-BE49-F238E27FC236}">
                <a16:creationId xmlns:a16="http://schemas.microsoft.com/office/drawing/2014/main" id="{670CF4FE-7C54-ECAA-8D98-33E7B67C854F}"/>
              </a:ext>
            </a:extLst>
          </p:cNvPr>
          <p:cNvPicPr>
            <a:picLocks noGrp="1" noChangeAspect="1"/>
          </p:cNvPicPr>
          <p:nvPr>
            <p:ph sz="quarter" idx="11"/>
          </p:nvPr>
        </p:nvPicPr>
        <p:blipFill>
          <a:blip r:embed="rId3"/>
          <a:stretch>
            <a:fillRect/>
          </a:stretch>
        </p:blipFill>
        <p:spPr>
          <a:xfrm>
            <a:off x="8470956" y="3082528"/>
            <a:ext cx="2257766" cy="2257766"/>
          </a:xfrm>
        </p:spPr>
      </p:pic>
      <p:sp>
        <p:nvSpPr>
          <p:cNvPr id="9" name="TextBox 10">
            <a:extLst>
              <a:ext uri="{FF2B5EF4-FFF2-40B4-BE49-F238E27FC236}">
                <a16:creationId xmlns:a16="http://schemas.microsoft.com/office/drawing/2014/main" id="{EA2D646A-61B1-0742-2FFA-76A5C71C1A20}"/>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400" b="1">
                <a:cs typeface="Arial"/>
              </a:rPr>
              <a:t>This presentation is for informational purposes only. For legal advice, please contact an attorney.</a:t>
            </a:r>
          </a:p>
        </p:txBody>
      </p:sp>
    </p:spTree>
    <p:extLst>
      <p:ext uri="{BB962C8B-B14F-4D97-AF65-F5344CB8AC3E}">
        <p14:creationId xmlns:p14="http://schemas.microsoft.com/office/powerpoint/2010/main" val="37941812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30A5A-B4D2-FB8B-9C12-987CF6A4FCF4}"/>
              </a:ext>
            </a:extLst>
          </p:cNvPr>
          <p:cNvSpPr>
            <a:spLocks noGrp="1"/>
          </p:cNvSpPr>
          <p:nvPr>
            <p:ph type="title"/>
          </p:nvPr>
        </p:nvSpPr>
        <p:spPr/>
        <p:txBody>
          <a:bodyPr/>
          <a:lstStyle/>
          <a:p>
            <a:r>
              <a:rPr lang="en-US" dirty="0"/>
              <a:t>Additional Resources  </a:t>
            </a:r>
          </a:p>
        </p:txBody>
      </p:sp>
      <p:sp>
        <p:nvSpPr>
          <p:cNvPr id="3" name="Content Placeholder 2">
            <a:extLst>
              <a:ext uri="{FF2B5EF4-FFF2-40B4-BE49-F238E27FC236}">
                <a16:creationId xmlns:a16="http://schemas.microsoft.com/office/drawing/2014/main" id="{B15CC334-9AE5-A9C6-3D9C-FF5C4C332215}"/>
              </a:ext>
            </a:extLst>
          </p:cNvPr>
          <p:cNvSpPr>
            <a:spLocks noGrp="1"/>
          </p:cNvSpPr>
          <p:nvPr>
            <p:ph sz="quarter" idx="11"/>
          </p:nvPr>
        </p:nvSpPr>
        <p:spPr>
          <a:xfrm>
            <a:off x="554735" y="1514475"/>
            <a:ext cx="5438775" cy="5578450"/>
          </a:xfrm>
        </p:spPr>
        <p:txBody>
          <a:bodyPr/>
          <a:lstStyle/>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AGO Resources:</a:t>
            </a:r>
          </a:p>
          <a:p>
            <a:pPr marL="0" marR="0">
              <a:spcBef>
                <a:spcPts val="0"/>
              </a:spcBef>
              <a:spcAft>
                <a:spcPts val="0"/>
              </a:spcAft>
            </a:pPr>
            <a:endParaRPr lang="en-US" sz="18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Wingdings" panose="05000000000000000000" pitchFamily="2" charset="2"/>
              <a:buChar char=""/>
            </a:pPr>
            <a:r>
              <a:rPr lang="en-US" sz="1800" b="1"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2"/>
              </a:rPr>
              <a:t>Flyer for K12 Schools on Protecting Students and Their Information</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endParaRPr lang="en-US" sz="18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Wingdings" panose="05000000000000000000" pitchFamily="2" charset="2"/>
              <a:buChar char=""/>
            </a:pPr>
            <a:r>
              <a:rPr lang="en-US" sz="1800" b="1" u="sng">
                <a:solidFill>
                  <a:srgbClr val="467886"/>
                </a:solidFill>
                <a:effectLst/>
                <a:latin typeface="Aptos" panose="020B0004020202020204" pitchFamily="34" charset="0"/>
                <a:ea typeface="Times New Roman" panose="02020603050405020304" pitchFamily="18" charset="0"/>
                <a:cs typeface="Aptos" panose="020B0004020202020204" pitchFamily="34" charset="0"/>
                <a:hlinkClick r:id="rId3"/>
              </a:rPr>
              <a:t>KNOW YOUR RIGHTS: ICE Enforcement A Guide for Immigrants, Families, and Communities </a:t>
            </a:r>
            <a:r>
              <a:rPr lang="en-US" sz="1800" b="1">
                <a:effectLst/>
                <a:latin typeface="Aptos" panose="020B0004020202020204" pitchFamily="34" charset="0"/>
                <a:ea typeface="Times New Roman" panose="02020603050405020304" pitchFamily="18" charset="0"/>
                <a:cs typeface="Aptos" panose="020B0004020202020204" pitchFamily="34" charset="0"/>
              </a:rPr>
              <a:t> </a:t>
            </a:r>
            <a:endParaRPr lang="en-US" b="1">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Wingdings" panose="05000000000000000000" pitchFamily="2" charset="2"/>
              <a:buChar char=""/>
            </a:pPr>
            <a:endParaRPr lang="en-US" sz="1800" b="1">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Additional resources for immigrants on the Attorney General’s website</a:t>
            </a:r>
            <a:r>
              <a:rPr lang="en-US" sz="1800">
                <a:effectLst/>
                <a:latin typeface="Aptos" panose="020B0004020202020204" pitchFamily="34" charset="0"/>
                <a:ea typeface="Aptos" panose="020B0004020202020204" pitchFamily="34" charset="0"/>
                <a:cs typeface="Aptos" panose="020B0004020202020204" pitchFamily="34" charset="0"/>
              </a:rPr>
              <a:t>: </a:t>
            </a:r>
            <a:r>
              <a:rPr lang="en-US" sz="1800" u="sng">
                <a:solidFill>
                  <a:srgbClr val="467886"/>
                </a:solidFill>
                <a:effectLst/>
                <a:latin typeface="Aptos" panose="020B0004020202020204" pitchFamily="34" charset="0"/>
                <a:ea typeface="Aptos" panose="020B0004020202020204" pitchFamily="34" charset="0"/>
                <a:cs typeface="Aptos" panose="020B0004020202020204" pitchFamily="34" charset="0"/>
                <a:hlinkClick r:id="rId4"/>
              </a:rPr>
              <a:t>https://www.mass.gov/info-details/resources-for-immigrants-in-massachusetts</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To File a Civil Rights Complaint with the Attorney General’s Office</a:t>
            </a:r>
            <a:r>
              <a:rPr lang="en-US" sz="1800">
                <a:effectLst/>
                <a:latin typeface="Aptos" panose="020B0004020202020204" pitchFamily="34" charset="0"/>
                <a:ea typeface="Aptos" panose="020B0004020202020204" pitchFamily="34" charset="0"/>
                <a:cs typeface="Aptos" panose="020B0004020202020204" pitchFamily="34" charset="0"/>
              </a:rPr>
              <a:t>, visit </a:t>
            </a:r>
            <a:r>
              <a:rPr lang="en-US" sz="1800" u="sng">
                <a:solidFill>
                  <a:srgbClr val="467886"/>
                </a:solidFill>
                <a:effectLst/>
                <a:latin typeface="Aptos" panose="020B0004020202020204" pitchFamily="34" charset="0"/>
                <a:ea typeface="Aptos" panose="020B0004020202020204" pitchFamily="34" charset="0"/>
                <a:cs typeface="Aptos" panose="020B0004020202020204" pitchFamily="34" charset="0"/>
                <a:hlinkClick r:id="rId5"/>
              </a:rPr>
              <a:t>www.mass.gov/how-to/file-a-civil-rights-complaint</a:t>
            </a:r>
            <a:r>
              <a:rPr lang="en-US" sz="1800">
                <a:effectLst/>
                <a:latin typeface="Aptos" panose="020B0004020202020204" pitchFamily="34" charset="0"/>
                <a:ea typeface="Aptos" panose="020B0004020202020204" pitchFamily="34" charset="0"/>
                <a:cs typeface="Aptos" panose="020B0004020202020204" pitchFamily="34" charset="0"/>
              </a:rPr>
              <a:t>, or for related civil rights questions, email </a:t>
            </a:r>
            <a:r>
              <a:rPr lang="en-US" sz="1800" u="sng">
                <a:solidFill>
                  <a:srgbClr val="467886"/>
                </a:solidFill>
                <a:effectLst/>
                <a:latin typeface="Aptos" panose="020B0004020202020204" pitchFamily="34" charset="0"/>
                <a:ea typeface="Aptos" panose="020B0004020202020204" pitchFamily="34" charset="0"/>
                <a:cs typeface="Aptos" panose="020B0004020202020204" pitchFamily="34" charset="0"/>
                <a:hlinkClick r:id="rId6"/>
              </a:rPr>
              <a:t>civilrights@mass.gov</a:t>
            </a:r>
            <a:r>
              <a:rPr lang="en-US" sz="1800">
                <a:effectLst/>
                <a:latin typeface="Aptos" panose="020B0004020202020204" pitchFamily="34" charset="0"/>
                <a:ea typeface="Aptos" panose="020B0004020202020204" pitchFamily="34" charset="0"/>
                <a:cs typeface="Aptos" panose="020B0004020202020204" pitchFamily="34" charset="0"/>
              </a:rPr>
              <a:t>, or call (617) 963-2917.</a:t>
            </a:r>
          </a:p>
          <a:p>
            <a:pPr marL="342900" marR="0" lvl="0" indent="-342900">
              <a:spcBef>
                <a:spcPts val="0"/>
              </a:spcBef>
              <a:spcAft>
                <a:spcPts val="0"/>
              </a:spcAft>
              <a:buFont typeface="Wingdings" panose="05000000000000000000" pitchFamily="2" charset="2"/>
              <a:buChar char=""/>
            </a:pPr>
            <a:endParaRPr lang="en-US" sz="1800">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4" name="Content Placeholder 3">
            <a:extLst>
              <a:ext uri="{FF2B5EF4-FFF2-40B4-BE49-F238E27FC236}">
                <a16:creationId xmlns:a16="http://schemas.microsoft.com/office/drawing/2014/main" id="{B2193EEE-3C0E-2135-4642-C867E5554ABB}"/>
              </a:ext>
            </a:extLst>
          </p:cNvPr>
          <p:cNvSpPr>
            <a:spLocks noGrp="1"/>
          </p:cNvSpPr>
          <p:nvPr>
            <p:ph sz="quarter" idx="12"/>
          </p:nvPr>
        </p:nvSpPr>
        <p:spPr>
          <a:xfrm>
            <a:off x="6198489" y="1575941"/>
            <a:ext cx="5438775" cy="3916457"/>
          </a:xfrm>
        </p:spPr>
        <p:txBody>
          <a:bodyPr vert="horz" wrap="square" lIns="0" tIns="0" rIns="0" bIns="0" rtlCol="0" anchor="t">
            <a:spAutoFit/>
          </a:bodyPr>
          <a:lstStyle/>
          <a:p>
            <a:pPr marL="0">
              <a:spcBef>
                <a:spcPts val="0"/>
              </a:spcBef>
              <a:spcAft>
                <a:spcPts val="0"/>
              </a:spcAft>
            </a:pPr>
            <a:r>
              <a:rPr lang="en-US" sz="1800" b="1">
                <a:effectLst/>
                <a:latin typeface="Aptos"/>
                <a:ea typeface="Aptos" panose="020B0004020202020204" pitchFamily="34" charset="0"/>
                <a:cs typeface="Aptos" panose="020B0004020202020204" pitchFamily="34" charset="0"/>
              </a:rPr>
              <a:t>For those wishing to hold community events for assisting families left behind</a:t>
            </a:r>
            <a:r>
              <a:rPr lang="en-US" sz="1800">
                <a:effectLst/>
                <a:latin typeface="Aptos"/>
                <a:ea typeface="Aptos" panose="020B0004020202020204" pitchFamily="34" charset="0"/>
                <a:cs typeface="Aptos" panose="020B0004020202020204" pitchFamily="34" charset="0"/>
              </a:rPr>
              <a:t>, email:</a:t>
            </a:r>
            <a:r>
              <a:rPr lang="en-US">
                <a:latin typeface="Aptos"/>
                <a:ea typeface="Aptos" panose="020B0004020202020204" pitchFamily="34" charset="0"/>
                <a:cs typeface="Aptos" panose="020B0004020202020204" pitchFamily="34" charset="0"/>
              </a:rPr>
              <a:t>  </a:t>
            </a:r>
            <a:r>
              <a:rPr lang="en-US">
                <a:ea typeface="+mn-lt"/>
                <a:cs typeface="+mn-lt"/>
                <a:hlinkClick r:id="rId7"/>
              </a:rPr>
              <a:t>Request a Community Meeting with ORI</a:t>
            </a:r>
            <a:endParaRPr lang="en-US" sz="1800" u="sng">
              <a:effectLst/>
              <a:latin typeface="Aptos"/>
              <a:ea typeface="Aptos" panose="020B0004020202020204" pitchFamily="34" charset="0"/>
              <a:cs typeface="Aptos" panose="020B0004020202020204" pitchFamily="34" charset="0"/>
            </a:endParaRPr>
          </a:p>
          <a:p>
            <a:pPr marL="0" marR="0">
              <a:spcBef>
                <a:spcPts val="0"/>
              </a:spcBef>
              <a:spcAft>
                <a:spcPts val="0"/>
              </a:spcAft>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The ICE detainee locator</a:t>
            </a:r>
            <a:r>
              <a:rPr lang="en-US" sz="1800">
                <a:effectLst/>
                <a:latin typeface="Aptos" panose="020B0004020202020204" pitchFamily="34" charset="0"/>
                <a:ea typeface="Aptos" panose="020B0004020202020204" pitchFamily="34" charset="0"/>
                <a:cs typeface="Aptos" panose="020B0004020202020204" pitchFamily="34" charset="0"/>
              </a:rPr>
              <a:t> (</a:t>
            </a:r>
            <a:r>
              <a:rPr lang="en-US" sz="1800" u="sng">
                <a:solidFill>
                  <a:srgbClr val="467886"/>
                </a:solidFill>
                <a:effectLst/>
                <a:latin typeface="Aptos" panose="020B0004020202020204" pitchFamily="34" charset="0"/>
                <a:ea typeface="Aptos" panose="020B0004020202020204" pitchFamily="34" charset="0"/>
                <a:cs typeface="Aptos" panose="020B0004020202020204" pitchFamily="34" charset="0"/>
                <a:hlinkClick r:id="rId8"/>
              </a:rPr>
              <a:t>https://locator.ice.gov/odls/homePage.do</a:t>
            </a:r>
            <a:r>
              <a:rPr lang="en-US" sz="1800">
                <a:effectLst/>
                <a:latin typeface="Aptos" panose="020B0004020202020204" pitchFamily="34" charset="0"/>
                <a:ea typeface="Aptos" panose="020B0004020202020204" pitchFamily="34" charset="0"/>
                <a:cs typeface="Aptos" panose="020B0004020202020204" pitchFamily="34" charset="0"/>
              </a:rPr>
              <a:t>) can help people determine if their family member has been detained and where the family member is being held.  Please note: The ICE detainee locator is intended only for locating individuals who are already detained. If someone has general questions about his or her immigration status, they should consult legal counsel.</a:t>
            </a:r>
          </a:p>
          <a:p>
            <a:pPr marL="0" marR="0" indent="0">
              <a:spcBef>
                <a:spcPts val="0"/>
              </a:spcBef>
              <a:spcAft>
                <a:spcPts val="0"/>
              </a:spcAft>
              <a:buNone/>
            </a:pPr>
            <a:endParaRPr lang="en-US" sz="1800">
              <a:effectLst/>
              <a:latin typeface="Aptos" panose="020B0004020202020204" pitchFamily="34" charset="0"/>
              <a:ea typeface="Aptos" panose="020B0004020202020204" pitchFamily="34" charset="0"/>
              <a:cs typeface="Aptos" panose="020B0004020202020204" pitchFamily="34" charset="0"/>
            </a:endParaRPr>
          </a:p>
          <a:p>
            <a:endParaRPr lang="en-US"/>
          </a:p>
        </p:txBody>
      </p:sp>
    </p:spTree>
    <p:extLst>
      <p:ext uri="{BB962C8B-B14F-4D97-AF65-F5344CB8AC3E}">
        <p14:creationId xmlns:p14="http://schemas.microsoft.com/office/powerpoint/2010/main" val="1405160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74432-30C3-B113-7131-DE651D711BB4}"/>
              </a:ext>
            </a:extLst>
          </p:cNvPr>
          <p:cNvSpPr>
            <a:spLocks noGrp="1"/>
          </p:cNvSpPr>
          <p:nvPr>
            <p:ph type="title"/>
          </p:nvPr>
        </p:nvSpPr>
        <p:spPr>
          <a:xfrm>
            <a:off x="554736" y="172212"/>
            <a:ext cx="10602418" cy="731520"/>
          </a:xfrm>
        </p:spPr>
        <p:txBody>
          <a:bodyPr vert="horz" wrap="square" lIns="0" tIns="0" rIns="0" bIns="0" rtlCol="0" anchor="b" anchorCtr="0">
            <a:normAutofit/>
          </a:bodyPr>
          <a:lstStyle/>
          <a:p>
            <a:pPr algn="ctr"/>
            <a:r>
              <a:rPr lang="en-US" sz="3600" b="1" kern="1200" spc="0" baseline="0">
                <a:ln w="6350" cap="flat">
                  <a:noFill/>
                  <a:miter lim="800000"/>
                </a:ln>
                <a:latin typeface="+mj-lt"/>
                <a:ea typeface="+mj-ea"/>
                <a:cs typeface="+mj-cs"/>
              </a:rPr>
              <a:t>Overview of ICE Authority </a:t>
            </a:r>
          </a:p>
        </p:txBody>
      </p:sp>
      <p:sp>
        <p:nvSpPr>
          <p:cNvPr id="5" name="Text Placeholder 4">
            <a:extLst>
              <a:ext uri="{FF2B5EF4-FFF2-40B4-BE49-F238E27FC236}">
                <a16:creationId xmlns:a16="http://schemas.microsoft.com/office/drawing/2014/main" id="{7C59C380-78C4-B762-685D-8851ED0E60B1}"/>
              </a:ext>
            </a:extLst>
          </p:cNvPr>
          <p:cNvSpPr>
            <a:spLocks noGrp="1"/>
          </p:cNvSpPr>
          <p:nvPr>
            <p:ph type="body" sz="quarter" idx="13"/>
          </p:nvPr>
        </p:nvSpPr>
        <p:spPr>
          <a:xfrm>
            <a:off x="554037" y="1101337"/>
            <a:ext cx="11082528" cy="276999"/>
          </a:xfrm>
        </p:spPr>
        <p:txBody>
          <a:bodyPr vert="horz" wrap="square" lIns="0" tIns="0" rIns="0" bIns="0" rtlCol="0">
            <a:normAutofit/>
          </a:bodyPr>
          <a:lstStyle/>
          <a:p>
            <a:r>
              <a:rPr lang="en-US" b="1" i="1" kern="1200">
                <a:latin typeface="+mn-lt"/>
                <a:ea typeface="+mn-ea"/>
                <a:cs typeface="Arial" panose="020B0604020202020204" pitchFamily="34" charset="0"/>
              </a:rPr>
              <a:t>ICE is subject to different, but similar, rules as other Law Enforcement</a:t>
            </a:r>
          </a:p>
        </p:txBody>
      </p:sp>
      <p:sp>
        <p:nvSpPr>
          <p:cNvPr id="13" name="TextBox 12">
            <a:extLst>
              <a:ext uri="{FF2B5EF4-FFF2-40B4-BE49-F238E27FC236}">
                <a16:creationId xmlns:a16="http://schemas.microsoft.com/office/drawing/2014/main" id="{6D8F3C57-727B-D186-CB2F-EEEBD5D1671C}"/>
              </a:ext>
            </a:extLst>
          </p:cNvPr>
          <p:cNvSpPr txBox="1"/>
          <p:nvPr/>
        </p:nvSpPr>
        <p:spPr>
          <a:xfrm>
            <a:off x="6531429" y="2313431"/>
            <a:ext cx="5105835" cy="3347140"/>
          </a:xfrm>
          <a:prstGeom prst="rect">
            <a:avLst/>
          </a:prstGeom>
        </p:spPr>
        <p:txBody>
          <a:bodyPr vert="horz" wrap="square" lIns="0" tIns="0" rIns="0" bIns="0" rtlCol="0" anchor="t">
            <a:normAutofit/>
          </a:bodyPr>
          <a:lstStyle/>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When carrying out its enforcement activities, ICE officers must follow different, but similar rules as other law enforcement agencies. </a:t>
            </a:r>
          </a:p>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ICE officers must adhere to constitutional restrictions, as well as restrictions set by statutes, regulations and policies.</a:t>
            </a:r>
          </a:p>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Individuals engaging with ICE have rights including (</a:t>
            </a:r>
            <a:r>
              <a:rPr kumimoji="0" lang="en-US" sz="1800" b="0" i="0" u="none" strike="noStrike" kern="1200" cap="none" spc="0" normalizeH="0" baseline="0" noProof="0" err="1">
                <a:ln>
                  <a:noFill/>
                </a:ln>
                <a:solidFill>
                  <a:srgbClr val="000000"/>
                </a:solidFill>
                <a:effectLst/>
                <a:uLnTx/>
                <a:uFillTx/>
                <a:latin typeface="Arial"/>
                <a:ea typeface="+mn-ea"/>
                <a:cs typeface="+mn-cs"/>
              </a:rPr>
              <a:t>i</a:t>
            </a:r>
            <a:r>
              <a:rPr kumimoji="0" lang="en-US" sz="1800" b="0" i="0" u="none" strike="noStrike" kern="1200" cap="none" spc="0" normalizeH="0" baseline="0" noProof="0">
                <a:ln>
                  <a:noFill/>
                </a:ln>
                <a:solidFill>
                  <a:srgbClr val="000000"/>
                </a:solidFill>
                <a:effectLst/>
                <a:uLnTx/>
                <a:uFillTx/>
                <a:latin typeface="Arial"/>
                <a:ea typeface="+mn-ea"/>
                <a:cs typeface="+mn-cs"/>
              </a:rPr>
              <a:t>) the right to remain silent; and (ii) the right to an attorney – though ICE is not required to provide one. </a:t>
            </a:r>
          </a:p>
        </p:txBody>
      </p:sp>
      <p:graphicFrame>
        <p:nvGraphicFramePr>
          <p:cNvPr id="17" name="Content Placeholder 2">
            <a:extLst>
              <a:ext uri="{FF2B5EF4-FFF2-40B4-BE49-F238E27FC236}">
                <a16:creationId xmlns:a16="http://schemas.microsoft.com/office/drawing/2014/main" id="{23CE3F4C-EAB1-8874-FAD1-927C3EE70CBE}"/>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1869995032"/>
              </p:ext>
            </p:extLst>
          </p:nvPr>
        </p:nvGraphicFramePr>
        <p:xfrm>
          <a:off x="554037" y="1558126"/>
          <a:ext cx="5438775"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8" name="TextBox 27">
            <a:extLst>
              <a:ext uri="{FF2B5EF4-FFF2-40B4-BE49-F238E27FC236}">
                <a16:creationId xmlns:a16="http://schemas.microsoft.com/office/drawing/2014/main" id="{39BF4734-7F8E-835F-0608-B1BB7674DF84}"/>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1075764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4">
            <a:extLst>
              <a:ext uri="{FF2B5EF4-FFF2-40B4-BE49-F238E27FC236}">
                <a16:creationId xmlns:a16="http://schemas.microsoft.com/office/drawing/2014/main" id="{6DB83EE8-370B-D01A-D0FB-98A28E5A3DE4}"/>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904868927"/>
              </p:ext>
            </p:extLst>
          </p:nvPr>
        </p:nvGraphicFramePr>
        <p:xfrm>
          <a:off x="838200" y="1293813"/>
          <a:ext cx="10515600" cy="4883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14065826-B0BC-00D3-E089-4394F1B3BFCE}"/>
              </a:ext>
            </a:extLst>
          </p:cNvPr>
          <p:cNvSpPr>
            <a:spLocks noGrp="1"/>
          </p:cNvSpPr>
          <p:nvPr>
            <p:ph type="title"/>
          </p:nvPr>
        </p:nvSpPr>
        <p:spPr/>
        <p:txBody>
          <a:bodyPr wrap="square" anchor="b">
            <a:normAutofit/>
          </a:bodyPr>
          <a:lstStyle/>
          <a:p>
            <a:pPr algn="ctr"/>
            <a:r>
              <a:rPr lang="en-US" sz="4000"/>
              <a:t>Basic Rules Surrounding ICE Authority</a:t>
            </a:r>
          </a:p>
        </p:txBody>
      </p:sp>
      <p:sp>
        <p:nvSpPr>
          <p:cNvPr id="3" name="TextBox 2">
            <a:extLst>
              <a:ext uri="{FF2B5EF4-FFF2-40B4-BE49-F238E27FC236}">
                <a16:creationId xmlns:a16="http://schemas.microsoft.com/office/drawing/2014/main" id="{6364358F-24EF-592F-132E-9E5E008AE451}"/>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711292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C9400-BFAF-C861-C577-70FA6A2A3E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D807E4-7A17-C1AA-C7A0-D3FAC2834DEF}"/>
              </a:ext>
            </a:extLst>
          </p:cNvPr>
          <p:cNvSpPr>
            <a:spLocks noGrp="1"/>
          </p:cNvSpPr>
          <p:nvPr>
            <p:ph type="title"/>
          </p:nvPr>
        </p:nvSpPr>
        <p:spPr>
          <a:xfrm>
            <a:off x="838200" y="365125"/>
            <a:ext cx="10515600" cy="1325563"/>
          </a:xfrm>
        </p:spPr>
        <p:txBody>
          <a:bodyPr vert="horz" lIns="91440" tIns="45720" rIns="91440" bIns="45720" rtlCol="0">
            <a:normAutofit/>
          </a:bodyPr>
          <a:lstStyle/>
          <a:p>
            <a:r>
              <a:rPr lang="en-US">
                <a:solidFill>
                  <a:schemeClr val="tx1"/>
                </a:solidFill>
              </a:rPr>
              <a:t>What is Harboring?</a:t>
            </a:r>
          </a:p>
        </p:txBody>
      </p:sp>
      <p:graphicFrame>
        <p:nvGraphicFramePr>
          <p:cNvPr id="5" name="Content Placeholder 2">
            <a:extLst>
              <a:ext uri="{FF2B5EF4-FFF2-40B4-BE49-F238E27FC236}">
                <a16:creationId xmlns:a16="http://schemas.microsoft.com/office/drawing/2014/main" id="{738A8CD0-1028-541F-5B8D-FEC2B23FF050}"/>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45384713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7D40026B-144B-9911-CA9B-8A135CCD1BC1}"/>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1236850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DA1CE-0B0B-0CDB-DAD1-92374A649F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532D93-6105-5C75-ED19-E0BA9DCDE8E5}"/>
              </a:ext>
            </a:extLst>
          </p:cNvPr>
          <p:cNvSpPr>
            <a:spLocks noGrp="1"/>
          </p:cNvSpPr>
          <p:nvPr>
            <p:ph type="title"/>
          </p:nvPr>
        </p:nvSpPr>
        <p:spPr/>
        <p:txBody>
          <a:bodyPr/>
          <a:lstStyle/>
          <a:p>
            <a:pPr algn="ctr"/>
            <a:r>
              <a:rPr lang="en-US"/>
              <a:t>Likely not harboring/Harboring</a:t>
            </a:r>
          </a:p>
        </p:txBody>
      </p:sp>
      <p:sp>
        <p:nvSpPr>
          <p:cNvPr id="7" name="Text Placeholder 6">
            <a:extLst>
              <a:ext uri="{FF2B5EF4-FFF2-40B4-BE49-F238E27FC236}">
                <a16:creationId xmlns:a16="http://schemas.microsoft.com/office/drawing/2014/main" id="{30B669DE-E054-A2BC-CE6F-8A4385806967}"/>
              </a:ext>
            </a:extLst>
          </p:cNvPr>
          <p:cNvSpPr>
            <a:spLocks noGrp="1"/>
          </p:cNvSpPr>
          <p:nvPr>
            <p:ph type="body" sz="quarter" idx="13"/>
          </p:nvPr>
        </p:nvSpPr>
        <p:spPr/>
        <p:txBody>
          <a:bodyPr/>
          <a:lstStyle/>
          <a:p>
            <a:r>
              <a:rPr lang="en-US"/>
              <a:t>Not Harboring</a:t>
            </a:r>
          </a:p>
        </p:txBody>
      </p:sp>
      <p:graphicFrame>
        <p:nvGraphicFramePr>
          <p:cNvPr id="12" name="Content Placeholder 7">
            <a:extLst>
              <a:ext uri="{FF2B5EF4-FFF2-40B4-BE49-F238E27FC236}">
                <a16:creationId xmlns:a16="http://schemas.microsoft.com/office/drawing/2014/main" id="{4968E26B-24F1-6E2B-73BF-92480D2FD98B}"/>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2663112537"/>
              </p:ext>
            </p:extLst>
          </p:nvPr>
        </p:nvGraphicFramePr>
        <p:xfrm>
          <a:off x="554038" y="1514475"/>
          <a:ext cx="5438775"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 Placeholder 8">
            <a:extLst>
              <a:ext uri="{FF2B5EF4-FFF2-40B4-BE49-F238E27FC236}">
                <a16:creationId xmlns:a16="http://schemas.microsoft.com/office/drawing/2014/main" id="{6DA35180-4023-26FE-F769-DB89628810C1}"/>
              </a:ext>
            </a:extLst>
          </p:cNvPr>
          <p:cNvSpPr>
            <a:spLocks noGrp="1"/>
          </p:cNvSpPr>
          <p:nvPr>
            <p:ph type="body" sz="quarter" idx="4294967295"/>
          </p:nvPr>
        </p:nvSpPr>
        <p:spPr>
          <a:xfrm>
            <a:off x="6455229" y="1101338"/>
            <a:ext cx="5736771" cy="276999"/>
          </a:xfrm>
        </p:spPr>
        <p:txBody>
          <a:bodyPr/>
          <a:lstStyle/>
          <a:p>
            <a:pPr marL="0" indent="0">
              <a:buNone/>
            </a:pPr>
            <a:r>
              <a:rPr lang="en-US" b="1" i="1">
                <a:solidFill>
                  <a:schemeClr val="accent1"/>
                </a:solidFill>
              </a:rPr>
              <a:t>Could be considered harboring</a:t>
            </a:r>
          </a:p>
        </p:txBody>
      </p:sp>
      <p:sp>
        <p:nvSpPr>
          <p:cNvPr id="10" name="Content Placeholder 9">
            <a:extLst>
              <a:ext uri="{FF2B5EF4-FFF2-40B4-BE49-F238E27FC236}">
                <a16:creationId xmlns:a16="http://schemas.microsoft.com/office/drawing/2014/main" id="{D7E1DE6D-A49E-AE47-34E6-B978F823A3ED}"/>
              </a:ext>
            </a:extLst>
          </p:cNvPr>
          <p:cNvSpPr>
            <a:spLocks noGrp="1"/>
          </p:cNvSpPr>
          <p:nvPr>
            <p:ph sz="quarter" idx="12"/>
          </p:nvPr>
        </p:nvSpPr>
        <p:spPr>
          <a:xfrm>
            <a:off x="6781800" y="1575941"/>
            <a:ext cx="4855464" cy="4796284"/>
          </a:xfrm>
        </p:spPr>
        <p:txBody>
          <a:bodyPr>
            <a:normAutofit/>
          </a:bodyPr>
          <a:lstStyle/>
          <a:p>
            <a:r>
              <a:rPr lang="en-US" sz="2000"/>
              <a:t>Lying to ICE about the whereabouts of a person known to be undocumented or present in violation of the law, with the specific intent to hide that person.</a:t>
            </a:r>
          </a:p>
          <a:p>
            <a:endParaRPr lang="en-US" sz="2000"/>
          </a:p>
          <a:p>
            <a:r>
              <a:rPr lang="en-US" sz="2000"/>
              <a:t>Physical interference with ICE officers with the specific intent to hide a person who is undocumented or present in violation of the laws.</a:t>
            </a:r>
          </a:p>
          <a:p>
            <a:pPr marL="0" indent="0">
              <a:buNone/>
            </a:pPr>
            <a:endParaRPr lang="en-US" sz="2000"/>
          </a:p>
          <a:p>
            <a:r>
              <a:rPr lang="en-US" sz="2000"/>
              <a:t>Warning specific individuals about ICE presence.</a:t>
            </a:r>
          </a:p>
          <a:p>
            <a:endParaRPr lang="en-US" sz="2000"/>
          </a:p>
        </p:txBody>
      </p:sp>
      <p:sp>
        <p:nvSpPr>
          <p:cNvPr id="144" name="TextBox 143">
            <a:extLst>
              <a:ext uri="{FF2B5EF4-FFF2-40B4-BE49-F238E27FC236}">
                <a16:creationId xmlns:a16="http://schemas.microsoft.com/office/drawing/2014/main" id="{F30A017A-67EC-7736-EF92-0A5AC2B05963}"/>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670778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9078029-A88A-7D88-060A-5F39DADA73FD}"/>
              </a:ext>
              <a:ext uri="{C183D7F6-B498-43B3-948B-1728B52AA6E4}">
                <adec:decorative xmlns:adec="http://schemas.microsoft.com/office/drawing/2017/decorative" val="1"/>
              </a:ext>
            </a:extLst>
          </p:cNvPr>
          <p:cNvSpPr/>
          <p:nvPr/>
        </p:nvSpPr>
        <p:spPr>
          <a:xfrm>
            <a:off x="217631" y="3466245"/>
            <a:ext cx="11071057" cy="1265915"/>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rgbClr val="C2DDF6"/>
              </a:solidFill>
            </a:endParaRPr>
          </a:p>
        </p:txBody>
      </p:sp>
      <p:sp>
        <p:nvSpPr>
          <p:cNvPr id="10" name="Rectangle: Rounded Corners 9">
            <a:extLst>
              <a:ext uri="{FF2B5EF4-FFF2-40B4-BE49-F238E27FC236}">
                <a16:creationId xmlns:a16="http://schemas.microsoft.com/office/drawing/2014/main" id="{8CB3F1B3-7A6C-BF98-770E-55F3AB981C52}"/>
              </a:ext>
              <a:ext uri="{C183D7F6-B498-43B3-948B-1728B52AA6E4}">
                <adec:decorative xmlns:adec="http://schemas.microsoft.com/office/drawing/2017/decorative" val="1"/>
              </a:ext>
            </a:extLst>
          </p:cNvPr>
          <p:cNvSpPr/>
          <p:nvPr/>
        </p:nvSpPr>
        <p:spPr>
          <a:xfrm>
            <a:off x="217632" y="2327144"/>
            <a:ext cx="11071057" cy="1027415"/>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rgbClr val="C2DDF6"/>
              </a:solidFill>
            </a:endParaRPr>
          </a:p>
        </p:txBody>
      </p:sp>
      <p:sp>
        <p:nvSpPr>
          <p:cNvPr id="9" name="Rectangle: Rounded Corners 8">
            <a:extLst>
              <a:ext uri="{FF2B5EF4-FFF2-40B4-BE49-F238E27FC236}">
                <a16:creationId xmlns:a16="http://schemas.microsoft.com/office/drawing/2014/main" id="{9EDBE070-AAF3-90E1-E8E4-2C99E017AD13}"/>
              </a:ext>
              <a:ext uri="{C183D7F6-B498-43B3-948B-1728B52AA6E4}">
                <adec:decorative xmlns:adec="http://schemas.microsoft.com/office/drawing/2017/decorative" val="1"/>
              </a:ext>
            </a:extLst>
          </p:cNvPr>
          <p:cNvSpPr/>
          <p:nvPr/>
        </p:nvSpPr>
        <p:spPr>
          <a:xfrm>
            <a:off x="217632" y="1123510"/>
            <a:ext cx="11071057" cy="1027416"/>
          </a:xfrm>
          <a:prstGeom prst="round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rgbClr val="C2DDF6"/>
              </a:solidFill>
            </a:endParaRPr>
          </a:p>
        </p:txBody>
      </p:sp>
      <p:sp>
        <p:nvSpPr>
          <p:cNvPr id="2" name="Title 1">
            <a:extLst>
              <a:ext uri="{FF2B5EF4-FFF2-40B4-BE49-F238E27FC236}">
                <a16:creationId xmlns:a16="http://schemas.microsoft.com/office/drawing/2014/main" id="{06664476-A78C-E259-9424-48BF0AAED919}"/>
              </a:ext>
            </a:extLst>
          </p:cNvPr>
          <p:cNvSpPr>
            <a:spLocks noGrp="1"/>
          </p:cNvSpPr>
          <p:nvPr>
            <p:ph type="title"/>
          </p:nvPr>
        </p:nvSpPr>
        <p:spPr/>
        <p:txBody>
          <a:bodyPr vert="horz" wrap="square" lIns="0" tIns="0" rIns="0" bIns="0" rtlCol="0" anchor="ctr" anchorCtr="0">
            <a:noAutofit/>
          </a:bodyPr>
          <a:lstStyle/>
          <a:p>
            <a:r>
              <a:rPr lang="en-US" sz="2800">
                <a:ea typeface="+mj-lt"/>
                <a:cs typeface="+mj-lt"/>
              </a:rPr>
              <a:t>Rights of All Students to Education Regardless of </a:t>
            </a:r>
            <a:br>
              <a:rPr lang="en-US" sz="2800">
                <a:ea typeface="+mj-lt"/>
                <a:cs typeface="+mj-lt"/>
              </a:rPr>
            </a:br>
            <a:r>
              <a:rPr lang="en-US" sz="2800">
                <a:ea typeface="+mj-lt"/>
                <a:cs typeface="+mj-lt"/>
              </a:rPr>
              <a:t>Immigration or Citizenship Status</a:t>
            </a:r>
            <a:endParaRPr lang="en-US" sz="2800"/>
          </a:p>
        </p:txBody>
      </p:sp>
      <p:sp>
        <p:nvSpPr>
          <p:cNvPr id="3" name="Content Placeholder 2">
            <a:extLst>
              <a:ext uri="{FF2B5EF4-FFF2-40B4-BE49-F238E27FC236}">
                <a16:creationId xmlns:a16="http://schemas.microsoft.com/office/drawing/2014/main" id="{884D6D1A-E015-3E75-10D5-BF0E64805EFB}"/>
              </a:ext>
            </a:extLst>
          </p:cNvPr>
          <p:cNvSpPr>
            <a:spLocks noGrp="1"/>
          </p:cNvSpPr>
          <p:nvPr>
            <p:ph sz="quarter" idx="11"/>
          </p:nvPr>
        </p:nvSpPr>
        <p:spPr>
          <a:xfrm>
            <a:off x="349170" y="1235196"/>
            <a:ext cx="10807984" cy="5247590"/>
          </a:xfrm>
        </p:spPr>
        <p:txBody>
          <a:bodyPr vert="horz" wrap="square" lIns="0" tIns="0" rIns="0" bIns="0" rtlCol="0" anchor="t">
            <a:spAutoFit/>
          </a:bodyPr>
          <a:lstStyle/>
          <a:p>
            <a:pPr marL="285750" indent="-285750">
              <a:buFont typeface="Arial" panose="05000000000000000000" pitchFamily="2" charset="2"/>
              <a:buChar char="•"/>
            </a:pPr>
            <a:r>
              <a:rPr lang="en-US" sz="2400">
                <a:ea typeface="+mn-lt"/>
                <a:cs typeface="+mn-lt"/>
              </a:rPr>
              <a:t>Schools must provide equal access to education to all students regardless of immigration or citizenship status. </a:t>
            </a:r>
            <a:endParaRPr lang="en-US" sz="2000">
              <a:ea typeface="+mn-lt"/>
              <a:cs typeface="+mn-lt"/>
            </a:endParaRPr>
          </a:p>
          <a:p>
            <a:pPr marL="0" indent="0">
              <a:buNone/>
            </a:pPr>
            <a:endParaRPr lang="en-US" sz="2400">
              <a:ea typeface="+mn-lt"/>
              <a:cs typeface="+mn-lt"/>
            </a:endParaRPr>
          </a:p>
          <a:p>
            <a:pPr marL="285750" indent="-285750">
              <a:spcBef>
                <a:spcPts val="0"/>
              </a:spcBef>
              <a:spcAft>
                <a:spcPts val="0"/>
              </a:spcAft>
              <a:buFont typeface="Arial" panose="05000000000000000000" pitchFamily="2" charset="2"/>
              <a:buChar char="•"/>
            </a:pPr>
            <a:r>
              <a:rPr lang="en-US" sz="2400">
                <a:ea typeface="+mn-lt"/>
                <a:cs typeface="+mn-lt"/>
              </a:rPr>
              <a:t>Schools must avoid policies that discourage or deny access to school on the basis of immigration status.</a:t>
            </a:r>
          </a:p>
          <a:p>
            <a:pPr marL="0" indent="0">
              <a:spcBef>
                <a:spcPts val="0"/>
              </a:spcBef>
              <a:spcAft>
                <a:spcPts val="0"/>
              </a:spcAft>
              <a:buNone/>
            </a:pPr>
            <a:endParaRPr lang="en-US" sz="2400">
              <a:ea typeface="+mn-lt"/>
              <a:cs typeface="+mn-lt"/>
            </a:endParaRPr>
          </a:p>
          <a:p>
            <a:pPr marL="285750" indent="-285750">
              <a:spcBef>
                <a:spcPts val="0"/>
              </a:spcBef>
              <a:spcAft>
                <a:spcPts val="0"/>
              </a:spcAft>
              <a:buFont typeface="Arial" panose="05000000000000000000" pitchFamily="2" charset="2"/>
              <a:buChar char="•"/>
            </a:pPr>
            <a:r>
              <a:rPr lang="en-US" sz="2300">
                <a:ea typeface="+mn-lt"/>
                <a:cs typeface="+mn-lt"/>
              </a:rPr>
              <a:t>Schools must not discriminate on the basis of: </a:t>
            </a:r>
            <a:r>
              <a:rPr lang="en-US" sz="2300"/>
              <a:t>race, color, sex, gender identity, religion, national origin</a:t>
            </a:r>
            <a:r>
              <a:rPr lang="en-US" sz="2300" b="1"/>
              <a:t>,</a:t>
            </a:r>
            <a:r>
              <a:rPr lang="en-US" sz="2300" b="1">
                <a:solidFill>
                  <a:srgbClr val="FF0000"/>
                </a:solidFill>
              </a:rPr>
              <a:t> </a:t>
            </a:r>
            <a:r>
              <a:rPr lang="en-US" sz="2300" b="1"/>
              <a:t>citizenship or immigration status, disability, </a:t>
            </a:r>
            <a:r>
              <a:rPr lang="en-US" sz="2300"/>
              <a:t>or sexual orientation.</a:t>
            </a:r>
            <a:r>
              <a:rPr lang="en-US" sz="2000">
                <a:ea typeface="+mn-lt"/>
                <a:cs typeface="+mn-lt"/>
              </a:rPr>
              <a:t> </a:t>
            </a:r>
            <a:r>
              <a:rPr lang="en-US" sz="2000" i="1">
                <a:ea typeface="+mn-lt"/>
                <a:cs typeface="+mn-lt"/>
              </a:rPr>
              <a:t>Student Anti-Discrimination Act, M.G.L. 76 s. 5 </a:t>
            </a:r>
            <a:endParaRPr lang="en-US" sz="2300" i="1">
              <a:ea typeface="+mn-lt"/>
              <a:cs typeface="+mn-lt"/>
            </a:endParaRPr>
          </a:p>
          <a:p>
            <a:pPr marL="0" indent="0">
              <a:spcBef>
                <a:spcPts val="0"/>
              </a:spcBef>
              <a:spcAft>
                <a:spcPts val="0"/>
              </a:spcAft>
              <a:buNone/>
            </a:pPr>
            <a:endParaRPr lang="en-US">
              <a:ea typeface="+mn-lt"/>
              <a:cs typeface="+mn-lt"/>
            </a:endParaRPr>
          </a:p>
          <a:p>
            <a:pPr marL="0" indent="0">
              <a:spcBef>
                <a:spcPts val="0"/>
              </a:spcBef>
              <a:spcAft>
                <a:spcPts val="0"/>
              </a:spcAft>
              <a:buNone/>
            </a:pPr>
            <a:r>
              <a:rPr lang="en-US" sz="2000">
                <a:ea typeface="+mn-lt"/>
                <a:cs typeface="+mn-lt"/>
              </a:rPr>
              <a:t>For more information:</a:t>
            </a:r>
            <a:endParaRPr lang="en-US" sz="2000">
              <a:ea typeface="+mn-lt"/>
            </a:endParaRPr>
          </a:p>
          <a:p>
            <a:pPr marL="285750" indent="-285750">
              <a:spcBef>
                <a:spcPts val="0"/>
              </a:spcBef>
              <a:spcAft>
                <a:spcPts val="0"/>
              </a:spcAft>
              <a:buFont typeface="Arial" panose="05000000000000000000" pitchFamily="2" charset="2"/>
              <a:buChar char="•"/>
            </a:pPr>
            <a:r>
              <a:rPr lang="en-US" sz="2000">
                <a:ea typeface="+mn-lt"/>
                <a:cs typeface="+mn-lt"/>
                <a:hlinkClick r:id="rId2"/>
              </a:rPr>
              <a:t>Attorney General’s Advisory Regarding Equal Access to Public Education for All Students Irrespective of Immigration Status</a:t>
            </a:r>
            <a:r>
              <a:rPr lang="en-US" sz="2000">
                <a:ea typeface="+mn-lt"/>
                <a:cs typeface="+mn-lt"/>
              </a:rPr>
              <a:t> (updated April 2022). </a:t>
            </a:r>
            <a:endParaRPr lang="en-US" sz="2000">
              <a:ea typeface="+mn-lt"/>
            </a:endParaRPr>
          </a:p>
          <a:p>
            <a:pPr marL="285750" indent="-285750">
              <a:buFont typeface="Arial" panose="05000000000000000000" pitchFamily="2" charset="2"/>
              <a:buChar char="•"/>
            </a:pPr>
            <a:r>
              <a:rPr lang="en-US" sz="2000">
                <a:ea typeface="+mn-lt"/>
                <a:cs typeface="+mn-lt"/>
                <a:hlinkClick r:id="rId3"/>
              </a:rPr>
              <a:t>Upholding the Rights of Immigrant Students to Enroll in School: Guidance for School Committees and Districts</a:t>
            </a:r>
            <a:r>
              <a:rPr lang="en-US" sz="2000">
                <a:ea typeface="+mn-lt"/>
                <a:cs typeface="+mn-lt"/>
              </a:rPr>
              <a:t> (December 2024).</a:t>
            </a:r>
            <a:endParaRPr lang="en-US" sz="2000"/>
          </a:p>
        </p:txBody>
      </p:sp>
      <p:sp>
        <p:nvSpPr>
          <p:cNvPr id="5" name="TextBox 10">
            <a:extLst>
              <a:ext uri="{FF2B5EF4-FFF2-40B4-BE49-F238E27FC236}">
                <a16:creationId xmlns:a16="http://schemas.microsoft.com/office/drawing/2014/main" id="{8FDFB4C8-808A-07AB-A888-5BDCBDAFABF0}"/>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400" b="1">
                <a:cs typeface="Arial"/>
              </a:rPr>
              <a:t>This presentation is for informational purposes only. For legal advice, please contact an attorney.</a:t>
            </a:r>
          </a:p>
        </p:txBody>
      </p:sp>
    </p:spTree>
    <p:extLst>
      <p:ext uri="{BB962C8B-B14F-4D97-AF65-F5344CB8AC3E}">
        <p14:creationId xmlns:p14="http://schemas.microsoft.com/office/powerpoint/2010/main" val="3660998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1F720-E4D3-F9FD-966C-E0C6A7BED8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174D47-8275-F795-8275-71C9A9530D82}"/>
              </a:ext>
            </a:extLst>
          </p:cNvPr>
          <p:cNvSpPr>
            <a:spLocks noGrp="1"/>
          </p:cNvSpPr>
          <p:nvPr>
            <p:ph type="title"/>
          </p:nvPr>
        </p:nvSpPr>
        <p:spPr>
          <a:xfrm>
            <a:off x="469675" y="-63817"/>
            <a:ext cx="10602418" cy="731520"/>
          </a:xfrm>
        </p:spPr>
        <p:txBody>
          <a:bodyPr/>
          <a:lstStyle/>
          <a:p>
            <a:r>
              <a:rPr lang="en-US"/>
              <a:t>Detention of Parents/Guardians and Family Members of Students</a:t>
            </a:r>
          </a:p>
        </p:txBody>
      </p:sp>
      <p:sp>
        <p:nvSpPr>
          <p:cNvPr id="5" name="Text Placeholder 7">
            <a:extLst>
              <a:ext uri="{FF2B5EF4-FFF2-40B4-BE49-F238E27FC236}">
                <a16:creationId xmlns:a16="http://schemas.microsoft.com/office/drawing/2014/main" id="{23744921-9F67-AA01-576A-9B491181DDD2}"/>
              </a:ext>
            </a:extLst>
          </p:cNvPr>
          <p:cNvSpPr txBox="1">
            <a:spLocks noGrp="1"/>
          </p:cNvSpPr>
          <p:nvPr>
            <p:ph type="body" sz="quarter" idx="12"/>
          </p:nvPr>
        </p:nvSpPr>
        <p:spPr>
          <a:xfrm>
            <a:off x="554038" y="1101725"/>
            <a:ext cx="11082337" cy="276225"/>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a:spcBef>
                <a:spcPts val="300"/>
              </a:spcBef>
              <a:spcAft>
                <a:spcPts val="300"/>
              </a:spcAft>
              <a:buClr>
                <a:schemeClr val="accent1"/>
              </a:buClr>
              <a:buSzPct val="110000"/>
            </a:pPr>
            <a:r>
              <a:rPr lang="en-US" b="1" i="1" kern="1200">
                <a:solidFill>
                  <a:schemeClr val="accent1"/>
                </a:solidFill>
                <a:latin typeface="+mn-lt"/>
                <a:ea typeface="+mn-ea"/>
                <a:cs typeface="Arial" panose="020B0604020202020204" pitchFamily="34" charset="0"/>
              </a:rPr>
              <a:t>This presentation is for informational purposes only. For legal advice, please contact an attorney.</a:t>
            </a:r>
          </a:p>
        </p:txBody>
      </p:sp>
      <p:sp>
        <p:nvSpPr>
          <p:cNvPr id="7" name="Content Placeholder 2">
            <a:extLst>
              <a:ext uri="{FF2B5EF4-FFF2-40B4-BE49-F238E27FC236}">
                <a16:creationId xmlns:a16="http://schemas.microsoft.com/office/drawing/2014/main" id="{A5A7F06F-42D7-5542-544E-C167B89285F3}"/>
              </a:ext>
            </a:extLst>
          </p:cNvPr>
          <p:cNvSpPr>
            <a:spLocks noGrp="1"/>
          </p:cNvSpPr>
          <p:nvPr>
            <p:ph sz="quarter" idx="11"/>
          </p:nvPr>
        </p:nvSpPr>
        <p:spPr>
          <a:xfrm>
            <a:off x="554038" y="1811972"/>
            <a:ext cx="11173675" cy="3362459"/>
          </a:xfrm>
        </p:spPr>
        <p:txBody>
          <a:bodyPr/>
          <a:lstStyle/>
          <a:p>
            <a:r>
              <a:rPr lang="en-US" sz="2400" b="1"/>
              <a:t>Be prepared </a:t>
            </a:r>
            <a:r>
              <a:rPr lang="en-US" sz="2400" b="1" i="1"/>
              <a:t>in advance</a:t>
            </a:r>
            <a:r>
              <a:rPr lang="en-US" sz="2400" b="1"/>
              <a:t>: </a:t>
            </a:r>
          </a:p>
          <a:p>
            <a:pPr marL="571500" lvl="1" indent="-342900">
              <a:spcAft>
                <a:spcPts val="0"/>
              </a:spcAft>
              <a:buFont typeface="Arial" panose="020B0604020202020204" pitchFamily="34" charset="0"/>
              <a:buChar char="•"/>
            </a:pPr>
            <a:r>
              <a:rPr lang="en-US" sz="2400">
                <a:effectLst/>
                <a:latin typeface="Aptos" panose="020B0004020202020204" pitchFamily="34" charset="0"/>
                <a:ea typeface="Times New Roman" panose="02020603050405020304" pitchFamily="18" charset="0"/>
                <a:cs typeface="Aptos" panose="020B0004020202020204" pitchFamily="34" charset="0"/>
              </a:rPr>
              <a:t>Update emergency contact information, alternative caregiver contacts, and authorized pick-up contacts for all students.</a:t>
            </a:r>
          </a:p>
          <a:p>
            <a:pPr marL="571500" lvl="1" indent="-342900">
              <a:spcAft>
                <a:spcPts val="0"/>
              </a:spcAft>
              <a:buFont typeface="Arial" panose="020B0604020202020204" pitchFamily="34" charset="0"/>
              <a:buChar char="•"/>
            </a:pPr>
            <a:r>
              <a:rPr lang="en-US" sz="2400">
                <a:effectLst/>
                <a:latin typeface="Aptos" panose="020B0004020202020204" pitchFamily="34" charset="0"/>
                <a:ea typeface="Times New Roman" panose="02020603050405020304" pitchFamily="18" charset="0"/>
                <a:cs typeface="Aptos" panose="020B0004020202020204" pitchFamily="34" charset="0"/>
              </a:rPr>
              <a:t>Share 'plan ahead' resources with families.</a:t>
            </a:r>
          </a:p>
          <a:p>
            <a:pPr marL="571500" lvl="1" indent="-342900">
              <a:spcAft>
                <a:spcPts val="0"/>
              </a:spcAft>
              <a:buFont typeface="Arial" panose="020B0604020202020204" pitchFamily="34" charset="0"/>
              <a:buChar char="•"/>
            </a:pPr>
            <a:r>
              <a:rPr lang="en-US" sz="2400">
                <a:effectLst/>
                <a:latin typeface="Aptos" panose="020B0004020202020204" pitchFamily="34" charset="0"/>
                <a:ea typeface="Times New Roman" panose="02020603050405020304" pitchFamily="18" charset="0"/>
                <a:cs typeface="Aptos" panose="020B0004020202020204" pitchFamily="34" charset="0"/>
              </a:rPr>
              <a:t>Establish clear protocols for school response in the event a student or their parent is detained by ICE. </a:t>
            </a:r>
          </a:p>
          <a:p>
            <a:pPr marL="571500" lvl="1" indent="-342900">
              <a:spcAft>
                <a:spcPts val="0"/>
              </a:spcAft>
              <a:buFont typeface="Arial" panose="020B0604020202020204" pitchFamily="34" charset="0"/>
              <a:buChar char="•"/>
            </a:pPr>
            <a:r>
              <a:rPr lang="en-US" sz="2400">
                <a:effectLst/>
                <a:latin typeface="Aptos" panose="020B0004020202020204" pitchFamily="34" charset="0"/>
                <a:ea typeface="Times New Roman" panose="02020603050405020304" pitchFamily="18" charset="0"/>
                <a:cs typeface="Aptos" panose="020B0004020202020204" pitchFamily="34" charset="0"/>
              </a:rPr>
              <a:t>Provide counseling and social work support to students </a:t>
            </a:r>
            <a:r>
              <a:rPr lang="en-US" sz="2400">
                <a:latin typeface="Aptos" panose="020B0004020202020204" pitchFamily="34" charset="0"/>
                <a:ea typeface="Times New Roman" panose="02020603050405020304" pitchFamily="18" charset="0"/>
                <a:cs typeface="Aptos" panose="020B0004020202020204" pitchFamily="34" charset="0"/>
              </a:rPr>
              <a:t>experiencing increased anxiety, especially those whose</a:t>
            </a:r>
            <a:r>
              <a:rPr lang="en-US" sz="2400">
                <a:effectLst/>
                <a:latin typeface="Aptos" panose="020B0004020202020204" pitchFamily="34" charset="0"/>
                <a:ea typeface="Times New Roman" panose="02020603050405020304" pitchFamily="18" charset="0"/>
                <a:cs typeface="Aptos" panose="020B0004020202020204" pitchFamily="34" charset="0"/>
              </a:rPr>
              <a:t> families </a:t>
            </a:r>
            <a:r>
              <a:rPr lang="en-US" sz="2400">
                <a:latin typeface="Aptos" panose="020B0004020202020204" pitchFamily="34" charset="0"/>
                <a:ea typeface="Times New Roman" panose="02020603050405020304" pitchFamily="18" charset="0"/>
                <a:cs typeface="Aptos" panose="020B0004020202020204" pitchFamily="34" charset="0"/>
              </a:rPr>
              <a:t>are </a:t>
            </a:r>
            <a:r>
              <a:rPr lang="en-US" sz="2400">
                <a:effectLst/>
                <a:latin typeface="Aptos" panose="020B0004020202020204" pitchFamily="34" charset="0"/>
                <a:ea typeface="Times New Roman" panose="02020603050405020304" pitchFamily="18" charset="0"/>
                <a:cs typeface="Aptos" panose="020B0004020202020204" pitchFamily="34" charset="0"/>
              </a:rPr>
              <a:t>directly affected by changes to federal immigration policy</a:t>
            </a:r>
            <a:r>
              <a:rPr lang="en-US" sz="2400">
                <a:latin typeface="Aptos" panose="020B0004020202020204" pitchFamily="34" charset="0"/>
                <a:ea typeface="Times New Roman" panose="02020603050405020304" pitchFamily="18" charset="0"/>
                <a:cs typeface="Aptos" panose="020B0004020202020204" pitchFamily="34" charset="0"/>
              </a:rPr>
              <a:t>.</a:t>
            </a:r>
            <a:endParaRPr lang="en-US" sz="2400"/>
          </a:p>
        </p:txBody>
      </p:sp>
    </p:spTree>
    <p:extLst>
      <p:ext uri="{BB962C8B-B14F-4D97-AF65-F5344CB8AC3E}">
        <p14:creationId xmlns:p14="http://schemas.microsoft.com/office/powerpoint/2010/main" val="1263225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Adit &amp; Katie to upda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NAME" val="ACET"/>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ANGLE" val="5"/>
</p:tagLst>
</file>

<file path=ppt/tags/tag209.xml><?xml version="1.0" encoding="utf-8"?>
<p:tagLst xmlns:a="http://schemas.openxmlformats.org/drawingml/2006/main" xmlns:r="http://schemas.openxmlformats.org/officeDocument/2006/relationships" xmlns:p="http://schemas.openxmlformats.org/presentationml/2006/main">
  <p:tag name="ANGLE" val="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NGLE" val="4"/>
</p:tagLst>
</file>

<file path=ppt/tags/tag211.xml><?xml version="1.0" encoding="utf-8"?>
<p:tagLst xmlns:a="http://schemas.openxmlformats.org/drawingml/2006/main" xmlns:r="http://schemas.openxmlformats.org/officeDocument/2006/relationships" xmlns:p="http://schemas.openxmlformats.org/presentationml/2006/main">
  <p:tag name="ANGLE" val="4"/>
</p:tagLst>
</file>

<file path=ppt/tags/tag212.xml><?xml version="1.0" encoding="utf-8"?>
<p:tagLst xmlns:a="http://schemas.openxmlformats.org/drawingml/2006/main" xmlns:r="http://schemas.openxmlformats.org/officeDocument/2006/relationships" xmlns:p="http://schemas.openxmlformats.org/presentationml/2006/main">
  <p:tag name="ANGLE" val="3"/>
</p:tagLst>
</file>

<file path=ppt/tags/tag213.xml><?xml version="1.0" encoding="utf-8"?>
<p:tagLst xmlns:a="http://schemas.openxmlformats.org/drawingml/2006/main" xmlns:r="http://schemas.openxmlformats.org/officeDocument/2006/relationships" xmlns:p="http://schemas.openxmlformats.org/presentationml/2006/main">
  <p:tag name="ANGLE" val="3"/>
</p:tagLst>
</file>

<file path=ppt/tags/tag214.xml><?xml version="1.0" encoding="utf-8"?>
<p:tagLst xmlns:a="http://schemas.openxmlformats.org/drawingml/2006/main" xmlns:r="http://schemas.openxmlformats.org/officeDocument/2006/relationships" xmlns:p="http://schemas.openxmlformats.org/presentationml/2006/main">
  <p:tag name="ANGLE" val="2"/>
</p:tagLst>
</file>

<file path=ppt/tags/tag215.xml><?xml version="1.0" encoding="utf-8"?>
<p:tagLst xmlns:a="http://schemas.openxmlformats.org/drawingml/2006/main" xmlns:r="http://schemas.openxmlformats.org/officeDocument/2006/relationships" xmlns:p="http://schemas.openxmlformats.org/presentationml/2006/main">
  <p:tag name="ANGLE" val="2"/>
</p:tagLst>
</file>

<file path=ppt/tags/tag216.xml><?xml version="1.0" encoding="utf-8"?>
<p:tagLst xmlns:a="http://schemas.openxmlformats.org/drawingml/2006/main" xmlns:r="http://schemas.openxmlformats.org/officeDocument/2006/relationships" xmlns:p="http://schemas.openxmlformats.org/presentationml/2006/main">
  <p:tag name="ANGLE" val="1"/>
</p:tagLst>
</file>

<file path=ppt/tags/tag217.xml><?xml version="1.0" encoding="utf-8"?>
<p:tagLst xmlns:a="http://schemas.openxmlformats.org/drawingml/2006/main" xmlns:r="http://schemas.openxmlformats.org/officeDocument/2006/relationships" xmlns:p="http://schemas.openxmlformats.org/presentationml/2006/main">
  <p:tag name="ANGLE"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1.xml><?xml version="1.0" encoding="utf-8"?>
<p:tagLst xmlns:a="http://schemas.openxmlformats.org/drawingml/2006/main" xmlns:r="http://schemas.openxmlformats.org/officeDocument/2006/relationships" xmlns:p="http://schemas.openxmlformats.org/presentationml/2006/main">
  <p:tag name="SHAPENAME" val="Subtitle"/>
</p:tagLst>
</file>

<file path=ppt/tags/tag222.xml><?xml version="1.0" encoding="utf-8"?>
<p:tagLst xmlns:a="http://schemas.openxmlformats.org/drawingml/2006/main" xmlns:r="http://schemas.openxmlformats.org/officeDocument/2006/relationships" xmlns:p="http://schemas.openxmlformats.org/presentationml/2006/main">
  <p:tag name="SHAPENAME" val="Titl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5.xml><?xml version="1.0" encoding="utf-8"?>
<p:tagLst xmlns:a="http://schemas.openxmlformats.org/drawingml/2006/main" xmlns:r="http://schemas.openxmlformats.org/officeDocument/2006/relationships" xmlns:p="http://schemas.openxmlformats.org/presentationml/2006/main">
  <p:tag name="SHAPENAME" val="Subtitle"/>
</p:tagLst>
</file>

<file path=ppt/tags/tag226.xml><?xml version="1.0" encoding="utf-8"?>
<p:tagLst xmlns:a="http://schemas.openxmlformats.org/drawingml/2006/main" xmlns:r="http://schemas.openxmlformats.org/officeDocument/2006/relationships" xmlns:p="http://schemas.openxmlformats.org/presentationml/2006/main">
  <p:tag name="SHAPENAME" val="Title"/>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NAME" val="ACET"/>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ANGLE" val="5"/>
</p:tagLst>
</file>

<file path=ppt/tags/tag263.xml><?xml version="1.0" encoding="utf-8"?>
<p:tagLst xmlns:a="http://schemas.openxmlformats.org/drawingml/2006/main" xmlns:r="http://schemas.openxmlformats.org/officeDocument/2006/relationships" xmlns:p="http://schemas.openxmlformats.org/presentationml/2006/main">
  <p:tag name="ANGLE" val="5"/>
</p:tagLst>
</file>

<file path=ppt/tags/tag264.xml><?xml version="1.0" encoding="utf-8"?>
<p:tagLst xmlns:a="http://schemas.openxmlformats.org/drawingml/2006/main" xmlns:r="http://schemas.openxmlformats.org/officeDocument/2006/relationships" xmlns:p="http://schemas.openxmlformats.org/presentationml/2006/main">
  <p:tag name="ANGLE" val="4"/>
</p:tagLst>
</file>

<file path=ppt/tags/tag265.xml><?xml version="1.0" encoding="utf-8"?>
<p:tagLst xmlns:a="http://schemas.openxmlformats.org/drawingml/2006/main" xmlns:r="http://schemas.openxmlformats.org/officeDocument/2006/relationships" xmlns:p="http://schemas.openxmlformats.org/presentationml/2006/main">
  <p:tag name="ANGLE" val="4"/>
</p:tagLst>
</file>

<file path=ppt/tags/tag266.xml><?xml version="1.0" encoding="utf-8"?>
<p:tagLst xmlns:a="http://schemas.openxmlformats.org/drawingml/2006/main" xmlns:r="http://schemas.openxmlformats.org/officeDocument/2006/relationships" xmlns:p="http://schemas.openxmlformats.org/presentationml/2006/main">
  <p:tag name="ANGLE" val="3"/>
</p:tagLst>
</file>

<file path=ppt/tags/tag267.xml><?xml version="1.0" encoding="utf-8"?>
<p:tagLst xmlns:a="http://schemas.openxmlformats.org/drawingml/2006/main" xmlns:r="http://schemas.openxmlformats.org/officeDocument/2006/relationships" xmlns:p="http://schemas.openxmlformats.org/presentationml/2006/main">
  <p:tag name="ANGLE" val="3"/>
</p:tagLst>
</file>

<file path=ppt/tags/tag268.xml><?xml version="1.0" encoding="utf-8"?>
<p:tagLst xmlns:a="http://schemas.openxmlformats.org/drawingml/2006/main" xmlns:r="http://schemas.openxmlformats.org/officeDocument/2006/relationships" xmlns:p="http://schemas.openxmlformats.org/presentationml/2006/main">
  <p:tag name="ANGLE" val="2"/>
</p:tagLst>
</file>

<file path=ppt/tags/tag269.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0.xml><?xml version="1.0" encoding="utf-8"?>
<p:tagLst xmlns:a="http://schemas.openxmlformats.org/drawingml/2006/main" xmlns:r="http://schemas.openxmlformats.org/officeDocument/2006/relationships" xmlns:p="http://schemas.openxmlformats.org/presentationml/2006/main">
  <p:tag name="ANGLE" val="1"/>
</p:tagLst>
</file>

<file path=ppt/tags/tag271.xml><?xml version="1.0" encoding="utf-8"?>
<p:tagLst xmlns:a="http://schemas.openxmlformats.org/drawingml/2006/main" xmlns:r="http://schemas.openxmlformats.org/officeDocument/2006/relationships" xmlns:p="http://schemas.openxmlformats.org/presentationml/2006/main">
  <p:tag name="ANGLE" val="1"/>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5.xml><?xml version="1.0" encoding="utf-8"?>
<p:tagLst xmlns:a="http://schemas.openxmlformats.org/drawingml/2006/main" xmlns:r="http://schemas.openxmlformats.org/officeDocument/2006/relationships" xmlns:p="http://schemas.openxmlformats.org/presentationml/2006/main">
  <p:tag name="SHAPENAME" val="Subtitle"/>
</p:tagLst>
</file>

<file path=ppt/tags/tag276.xml><?xml version="1.0" encoding="utf-8"?>
<p:tagLst xmlns:a="http://schemas.openxmlformats.org/drawingml/2006/main" xmlns:r="http://schemas.openxmlformats.org/officeDocument/2006/relationships" xmlns:p="http://schemas.openxmlformats.org/presentationml/2006/main">
  <p:tag name="SHAPENAME" val="Titl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9.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Title"/>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NAME" val="ACET"/>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NAME" val="Moon"/>
</p:tagLst>
</file>

<file path=ppt/tags/tag309.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ANGLE" val="5"/>
</p:tagLst>
</file>

<file path=ppt/tags/tag311.xml><?xml version="1.0" encoding="utf-8"?>
<p:tagLst xmlns:a="http://schemas.openxmlformats.org/drawingml/2006/main" xmlns:r="http://schemas.openxmlformats.org/officeDocument/2006/relationships" xmlns:p="http://schemas.openxmlformats.org/presentationml/2006/main">
  <p:tag name="ANGLE" val="5"/>
</p:tagLst>
</file>

<file path=ppt/tags/tag312.xml><?xml version="1.0" encoding="utf-8"?>
<p:tagLst xmlns:a="http://schemas.openxmlformats.org/drawingml/2006/main" xmlns:r="http://schemas.openxmlformats.org/officeDocument/2006/relationships" xmlns:p="http://schemas.openxmlformats.org/presentationml/2006/main">
  <p:tag name="ANGLE" val="4"/>
</p:tagLst>
</file>

<file path=ppt/tags/tag313.xml><?xml version="1.0" encoding="utf-8"?>
<p:tagLst xmlns:a="http://schemas.openxmlformats.org/drawingml/2006/main" xmlns:r="http://schemas.openxmlformats.org/officeDocument/2006/relationships" xmlns:p="http://schemas.openxmlformats.org/presentationml/2006/main">
  <p:tag name="ANGLE" val="4"/>
</p:tagLst>
</file>

<file path=ppt/tags/tag314.xml><?xml version="1.0" encoding="utf-8"?>
<p:tagLst xmlns:a="http://schemas.openxmlformats.org/drawingml/2006/main" xmlns:r="http://schemas.openxmlformats.org/officeDocument/2006/relationships" xmlns:p="http://schemas.openxmlformats.org/presentationml/2006/main">
  <p:tag name="ANGLE" val="3"/>
</p:tagLst>
</file>

<file path=ppt/tags/tag315.xml><?xml version="1.0" encoding="utf-8"?>
<p:tagLst xmlns:a="http://schemas.openxmlformats.org/drawingml/2006/main" xmlns:r="http://schemas.openxmlformats.org/officeDocument/2006/relationships" xmlns:p="http://schemas.openxmlformats.org/presentationml/2006/main">
  <p:tag name="ANGLE" val="3"/>
</p:tagLst>
</file>

<file path=ppt/tags/tag316.xml><?xml version="1.0" encoding="utf-8"?>
<p:tagLst xmlns:a="http://schemas.openxmlformats.org/drawingml/2006/main" xmlns:r="http://schemas.openxmlformats.org/officeDocument/2006/relationships" xmlns:p="http://schemas.openxmlformats.org/presentationml/2006/main">
  <p:tag name="ANGLE" val="2"/>
</p:tagLst>
</file>

<file path=ppt/tags/tag317.xml><?xml version="1.0" encoding="utf-8"?>
<p:tagLst xmlns:a="http://schemas.openxmlformats.org/drawingml/2006/main" xmlns:r="http://schemas.openxmlformats.org/officeDocument/2006/relationships" xmlns:p="http://schemas.openxmlformats.org/presentationml/2006/main">
  <p:tag name="ANGLE" val="2"/>
</p:tagLst>
</file>

<file path=ppt/tags/tag318.xml><?xml version="1.0" encoding="utf-8"?>
<p:tagLst xmlns:a="http://schemas.openxmlformats.org/drawingml/2006/main" xmlns:r="http://schemas.openxmlformats.org/officeDocument/2006/relationships" xmlns:p="http://schemas.openxmlformats.org/presentationml/2006/main">
  <p:tag name="ANGLE" val="1"/>
</p:tagLst>
</file>

<file path=ppt/tags/tag319.xml><?xml version="1.0" encoding="utf-8"?>
<p:tagLst xmlns:a="http://schemas.openxmlformats.org/drawingml/2006/main" xmlns:r="http://schemas.openxmlformats.org/officeDocument/2006/relationships" xmlns:p="http://schemas.openxmlformats.org/presentationml/2006/main">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7.xml><?xml version="1.0" encoding="utf-8"?>
<p:tagLst xmlns:a="http://schemas.openxmlformats.org/drawingml/2006/main" xmlns:r="http://schemas.openxmlformats.org/officeDocument/2006/relationships" xmlns:p="http://schemas.openxmlformats.org/presentationml/2006/main">
  <p:tag name="SHAPENAME" val="Subtitle"/>
</p:tagLst>
</file>

<file path=ppt/tags/tag328.xml><?xml version="1.0" encoding="utf-8"?>
<p:tagLst xmlns:a="http://schemas.openxmlformats.org/drawingml/2006/main" xmlns:r="http://schemas.openxmlformats.org/officeDocument/2006/relationships" xmlns:p="http://schemas.openxmlformats.org/presentationml/2006/main">
  <p:tag name="SHAPENAME" val="Title"/>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NAME" val="ACET"/>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0.xml><?xml version="1.0" encoding="utf-8"?>
<p:tagLst xmlns:a="http://schemas.openxmlformats.org/drawingml/2006/main" xmlns:r="http://schemas.openxmlformats.org/officeDocument/2006/relationships" xmlns:p="http://schemas.openxmlformats.org/presentationml/2006/main">
  <p:tag name="NAME" val="Moon"/>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NAME" val="Moon"/>
</p:tagLst>
</file>

<file path=ppt/tags/tag364.xml><?xml version="1.0" encoding="utf-8"?>
<p:tagLst xmlns:a="http://schemas.openxmlformats.org/drawingml/2006/main" xmlns:r="http://schemas.openxmlformats.org/officeDocument/2006/relationships" xmlns:p="http://schemas.openxmlformats.org/presentationml/2006/main">
  <p:tag name="ANGLE" val="5"/>
</p:tagLst>
</file>

<file path=ppt/tags/tag365.xml><?xml version="1.0" encoding="utf-8"?>
<p:tagLst xmlns:a="http://schemas.openxmlformats.org/drawingml/2006/main" xmlns:r="http://schemas.openxmlformats.org/officeDocument/2006/relationships" xmlns:p="http://schemas.openxmlformats.org/presentationml/2006/main">
  <p:tag name="ANGLE" val="5"/>
</p:tagLst>
</file>

<file path=ppt/tags/tag366.xml><?xml version="1.0" encoding="utf-8"?>
<p:tagLst xmlns:a="http://schemas.openxmlformats.org/drawingml/2006/main" xmlns:r="http://schemas.openxmlformats.org/officeDocument/2006/relationships" xmlns:p="http://schemas.openxmlformats.org/presentationml/2006/main">
  <p:tag name="ANGLE" val="4"/>
</p:tagLst>
</file>

<file path=ppt/tags/tag367.xml><?xml version="1.0" encoding="utf-8"?>
<p:tagLst xmlns:a="http://schemas.openxmlformats.org/drawingml/2006/main" xmlns:r="http://schemas.openxmlformats.org/officeDocument/2006/relationships" xmlns:p="http://schemas.openxmlformats.org/presentationml/2006/main">
  <p:tag name="ANGLE" val="4"/>
</p:tagLst>
</file>

<file path=ppt/tags/tag368.xml><?xml version="1.0" encoding="utf-8"?>
<p:tagLst xmlns:a="http://schemas.openxmlformats.org/drawingml/2006/main" xmlns:r="http://schemas.openxmlformats.org/officeDocument/2006/relationships" xmlns:p="http://schemas.openxmlformats.org/presentationml/2006/main">
  <p:tag name="ANGLE" val="3"/>
</p:tagLst>
</file>

<file path=ppt/tags/tag369.xml><?xml version="1.0" encoding="utf-8"?>
<p:tagLst xmlns:a="http://schemas.openxmlformats.org/drawingml/2006/main" xmlns:r="http://schemas.openxmlformats.org/officeDocument/2006/relationships" xmlns:p="http://schemas.openxmlformats.org/presentationml/2006/main">
  <p:tag name="ANGLE" val="3"/>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ANGLE" val="2"/>
</p:tagLst>
</file>

<file path=ppt/tags/tag371.xml><?xml version="1.0" encoding="utf-8"?>
<p:tagLst xmlns:a="http://schemas.openxmlformats.org/drawingml/2006/main" xmlns:r="http://schemas.openxmlformats.org/officeDocument/2006/relationships" xmlns:p="http://schemas.openxmlformats.org/presentationml/2006/main">
  <p:tag name="ANGLE" val="2"/>
</p:tagLst>
</file>

<file path=ppt/tags/tag372.xml><?xml version="1.0" encoding="utf-8"?>
<p:tagLst xmlns:a="http://schemas.openxmlformats.org/drawingml/2006/main" xmlns:r="http://schemas.openxmlformats.org/officeDocument/2006/relationships" xmlns:p="http://schemas.openxmlformats.org/presentationml/2006/main">
  <p:tag name="ANGLE" val="1"/>
</p:tagLst>
</file>

<file path=ppt/tags/tag373.xml><?xml version="1.0" encoding="utf-8"?>
<p:tagLst xmlns:a="http://schemas.openxmlformats.org/drawingml/2006/main" xmlns:r="http://schemas.openxmlformats.org/officeDocument/2006/relationships" xmlns:p="http://schemas.openxmlformats.org/presentationml/2006/main">
  <p:tag name="ANGLE" val="1"/>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7.xml><?xml version="1.0" encoding="utf-8"?>
<p:tagLst xmlns:a="http://schemas.openxmlformats.org/drawingml/2006/main" xmlns:r="http://schemas.openxmlformats.org/officeDocument/2006/relationships" xmlns:p="http://schemas.openxmlformats.org/presentationml/2006/main">
  <p:tag name="SHAPENAME" val="Subtitle"/>
</p:tagLst>
</file>

<file path=ppt/tags/tag378.xml><?xml version="1.0" encoding="utf-8"?>
<p:tagLst xmlns:a="http://schemas.openxmlformats.org/drawingml/2006/main" xmlns:r="http://schemas.openxmlformats.org/officeDocument/2006/relationships" xmlns:p="http://schemas.openxmlformats.org/presentationml/2006/main">
  <p:tag name="SHAPENAME" val="Titl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1.xml><?xml version="1.0" encoding="utf-8"?>
<p:tagLst xmlns:a="http://schemas.openxmlformats.org/drawingml/2006/main" xmlns:r="http://schemas.openxmlformats.org/officeDocument/2006/relationships" xmlns:p="http://schemas.openxmlformats.org/presentationml/2006/main">
  <p:tag name="SHAPENAME" val="Subtitle"/>
</p:tagLst>
</file>

<file path=ppt/tags/tag382.xml><?xml version="1.0" encoding="utf-8"?>
<p:tagLst xmlns:a="http://schemas.openxmlformats.org/drawingml/2006/main" xmlns:r="http://schemas.openxmlformats.org/officeDocument/2006/relationships" xmlns:p="http://schemas.openxmlformats.org/presentationml/2006/main">
  <p:tag name="SHAPENAME" val="Title"/>
</p:tagLst>
</file>

<file path=ppt/tags/tag3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4.xml><?xml version="1.0" encoding="utf-8"?>
<p:tagLst xmlns:a="http://schemas.openxmlformats.org/drawingml/2006/main" xmlns:r="http://schemas.openxmlformats.org/officeDocument/2006/relationships" xmlns:p="http://schemas.openxmlformats.org/presentationml/2006/main">
  <p:tag name="SHAPENAME" val="5. Source"/>
</p:tagLst>
</file>

<file path=ppt/tags/tag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NAME" val="ACET"/>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ANGLE" val="5"/>
</p:tagLst>
</file>

<file path=ppt/tags/tag73.xml><?xml version="1.0" encoding="utf-8"?>
<p:tagLst xmlns:a="http://schemas.openxmlformats.org/drawingml/2006/main" xmlns:r="http://schemas.openxmlformats.org/officeDocument/2006/relationships" xmlns:p="http://schemas.openxmlformats.org/presentationml/2006/main">
  <p:tag name="ANGLE" val="5"/>
</p:tagLst>
</file>

<file path=ppt/tags/tag74.xml><?xml version="1.0" encoding="utf-8"?>
<p:tagLst xmlns:a="http://schemas.openxmlformats.org/drawingml/2006/main" xmlns:r="http://schemas.openxmlformats.org/officeDocument/2006/relationships" xmlns:p="http://schemas.openxmlformats.org/presentationml/2006/main">
  <p:tag name="ANGLE" val="4"/>
</p:tagLst>
</file>

<file path=ppt/tags/tag75.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ANGLE" val="3"/>
</p:tagLst>
</file>

<file path=ppt/tags/tag77.xml><?xml version="1.0" encoding="utf-8"?>
<p:tagLst xmlns:a="http://schemas.openxmlformats.org/drawingml/2006/main" xmlns:r="http://schemas.openxmlformats.org/officeDocument/2006/relationships" xmlns:p="http://schemas.openxmlformats.org/presentationml/2006/main">
  <p:tag name="ANGLE" val="3"/>
</p:tagLst>
</file>

<file path=ppt/tags/tag78.xml><?xml version="1.0" encoding="utf-8"?>
<p:tagLst xmlns:a="http://schemas.openxmlformats.org/drawingml/2006/main" xmlns:r="http://schemas.openxmlformats.org/officeDocument/2006/relationships" xmlns:p="http://schemas.openxmlformats.org/presentationml/2006/main">
  <p:tag name="ANGLE" val="2"/>
</p:tagLst>
</file>

<file path=ppt/tags/tag79.xml><?xml version="1.0" encoding="utf-8"?>
<p:tagLst xmlns:a="http://schemas.openxmlformats.org/drawingml/2006/main" xmlns:r="http://schemas.openxmlformats.org/officeDocument/2006/relationships" xmlns:p="http://schemas.openxmlformats.org/presentationml/2006/main">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ANGLE" val="1"/>
</p:tagLst>
</file>

<file path=ppt/tags/tag81.xml><?xml version="1.0" encoding="utf-8"?>
<p:tagLst xmlns:a="http://schemas.openxmlformats.org/drawingml/2006/main" xmlns:r="http://schemas.openxmlformats.org/officeDocument/2006/relationships" xmlns:p="http://schemas.openxmlformats.org/presentationml/2006/main">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xml><?xml version="1.0" encoding="utf-8"?>
<p:tagLst xmlns:a="http://schemas.openxmlformats.org/drawingml/2006/main" xmlns:r="http://schemas.openxmlformats.org/officeDocument/2006/relationships" xmlns:p="http://schemas.openxmlformats.org/presentationml/2006/main">
  <p:tag name="SHAPENAME" val="Subtitle"/>
</p:tagLst>
</file>

<file path=ppt/tags/tag86.xml><?xml version="1.0" encoding="utf-8"?>
<p:tagLst xmlns:a="http://schemas.openxmlformats.org/drawingml/2006/main" xmlns:r="http://schemas.openxmlformats.org/officeDocument/2006/relationships" xmlns:p="http://schemas.openxmlformats.org/presentationml/2006/main">
  <p:tag name="SHAPENAME" val="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3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4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6.xml><?xml version="1.0" encoding="utf-8"?>
<a:theme xmlns:a="http://schemas.openxmlformats.org/drawingml/2006/main" name="5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w="med" len="med"/>
          <a:tailEnd type="arrow" w="med" len="med"/>
        </a:ln>
      </a:spPr>
      <a:bodyPr/>
      <a:lstStyle/>
      <a:style>
        <a:lnRef idx="0">
          <a:scrgbClr r="0" g="0" b="0"/>
        </a:lnRef>
        <a:fillRef idx="0">
          <a:scrgbClr r="0" g="0" b="0"/>
        </a:fillRef>
        <a:effectRef idx="0">
          <a:scrgbClr r="0" g="0" b="0"/>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8678208-21dd-4738-9a76-b46103a2ff81">
      <Terms xmlns="http://schemas.microsoft.com/office/infopath/2007/PartnerControls"/>
    </lcf76f155ced4ddcb4097134ff3c332f>
    <TaxCatchAll xmlns="cc242d12-0fbb-4d81-bcc9-7a2302f80be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580DE58BC131D4FA7F3FBC21670129B" ma:contentTypeVersion="11" ma:contentTypeDescription="Create a new document." ma:contentTypeScope="" ma:versionID="5607b6ce52f78af16b3d28982367af7d">
  <xsd:schema xmlns:xsd="http://www.w3.org/2001/XMLSchema" xmlns:xs="http://www.w3.org/2001/XMLSchema" xmlns:p="http://schemas.microsoft.com/office/2006/metadata/properties" xmlns:ns2="68678208-21dd-4738-9a76-b46103a2ff81" xmlns:ns3="cc242d12-0fbb-4d81-bcc9-7a2302f80be4" targetNamespace="http://schemas.microsoft.com/office/2006/metadata/properties" ma:root="true" ma:fieldsID="5b74ce54e38d72a299aa2d4fd36533c1" ns2:_="" ns3:_="">
    <xsd:import namespace="68678208-21dd-4738-9a76-b46103a2ff81"/>
    <xsd:import namespace="cc242d12-0fbb-4d81-bcc9-7a2302f80be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678208-21dd-4738-9a76-b46103a2ff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242d12-0fbb-4d81-bcc9-7a2302f80be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6ff2e06-adea-48de-ba21-ad49e644ae75}" ma:internalName="TaxCatchAll" ma:showField="CatchAllData" ma:web="cc242d12-0fbb-4d81-bcc9-7a2302f80b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111BB3-6091-45DD-8E22-425CEAE2FC56}">
  <ds:schemaRefs>
    <ds:schemaRef ds:uri="http://schemas.microsoft.com/office/2006/documentManagement/types"/>
    <ds:schemaRef ds:uri="http://schemas.microsoft.com/office/infopath/2007/PartnerControls"/>
    <ds:schemaRef ds:uri="68678208-21dd-4738-9a76-b46103a2ff81"/>
    <ds:schemaRef ds:uri="http://purl.org/dc/dcmitype/"/>
    <ds:schemaRef ds:uri="http://schemas.openxmlformats.org/package/2006/metadata/core-properties"/>
    <ds:schemaRef ds:uri="http://schemas.microsoft.com/office/2006/metadata/properties"/>
    <ds:schemaRef ds:uri="cc242d12-0fbb-4d81-bcc9-7a2302f80be4"/>
    <ds:schemaRef ds:uri="http://www.w3.org/XML/1998/namespace"/>
    <ds:schemaRef ds:uri="http://purl.org/dc/terms/"/>
    <ds:schemaRef ds:uri="http://purl.org/dc/elements/1.1/"/>
  </ds:schemaRefs>
</ds:datastoreItem>
</file>

<file path=customXml/itemProps2.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3.xml><?xml version="1.0" encoding="utf-8"?>
<ds:datastoreItem xmlns:ds="http://schemas.openxmlformats.org/officeDocument/2006/customXml" ds:itemID="{8EF23E9D-69DB-4367-A680-51389559E451}">
  <ds:schemaRefs>
    <ds:schemaRef ds:uri="68678208-21dd-4738-9a76-b46103a2ff81"/>
    <ds:schemaRef ds:uri="cc242d12-0fbb-4d81-bcc9-7a2302f80b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18</TotalTime>
  <Words>3593</Words>
  <Application>Microsoft Office PowerPoint</Application>
  <PresentationFormat>Widescreen</PresentationFormat>
  <Paragraphs>265</Paragraphs>
  <Slides>36</Slides>
  <Notes>0</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36</vt:i4>
      </vt:variant>
    </vt:vector>
  </HeadingPairs>
  <TitlesOfParts>
    <vt:vector size="55" baseType="lpstr">
      <vt:lpstr>Arial,Sans-Serif</vt:lpstr>
      <vt:lpstr>Aptos</vt:lpstr>
      <vt:lpstr>Aptos Display</vt:lpstr>
      <vt:lpstr>Arial</vt:lpstr>
      <vt:lpstr>Calibri</vt:lpstr>
      <vt:lpstr>Georgia</vt:lpstr>
      <vt:lpstr>Gill Sans MT</vt:lpstr>
      <vt:lpstr>Roboto</vt:lpstr>
      <vt:lpstr>Segoe UI</vt:lpstr>
      <vt:lpstr>Symbol</vt:lpstr>
      <vt:lpstr>Wingdings</vt:lpstr>
      <vt:lpstr>White</vt:lpstr>
      <vt:lpstr>2_White</vt:lpstr>
      <vt:lpstr>1_White</vt:lpstr>
      <vt:lpstr>3_White</vt:lpstr>
      <vt:lpstr>4_White</vt:lpstr>
      <vt:lpstr>5_White</vt:lpstr>
      <vt:lpstr>Office Theme</vt:lpstr>
      <vt:lpstr>think-cell Slide</vt:lpstr>
      <vt:lpstr>ORI &amp; AGO  Know Your Rights 4.0</vt:lpstr>
      <vt:lpstr>Webinar Topics  </vt:lpstr>
      <vt:lpstr>Refresher: Know Your Rights</vt:lpstr>
      <vt:lpstr>Overview of ICE Authority </vt:lpstr>
      <vt:lpstr>Basic Rules Surrounding ICE Authority</vt:lpstr>
      <vt:lpstr>What is Harboring?</vt:lpstr>
      <vt:lpstr>Likely not harboring/Harboring</vt:lpstr>
      <vt:lpstr>Rights of All Students to Education Regardless of  Immigration or Citizenship Status</vt:lpstr>
      <vt:lpstr>Detention of Parents/Guardians and Family Members of Students</vt:lpstr>
      <vt:lpstr>Family at Risk? ‘Plan Ahead’ Resources</vt:lpstr>
      <vt:lpstr>Plan Ahead  </vt:lpstr>
      <vt:lpstr>Other Steps for Schools to Take</vt:lpstr>
      <vt:lpstr>Scenarios + Considerations</vt:lpstr>
      <vt:lpstr>Scenario #1: On School Grounds  </vt:lpstr>
      <vt:lpstr>Scenario #1: On School Grounds    </vt:lpstr>
      <vt:lpstr>Scenario #1: On School Grounds </vt:lpstr>
      <vt:lpstr>Rights and Responsibilities of School Staff as Bystanders</vt:lpstr>
      <vt:lpstr>Scenario #2: Child At School  </vt:lpstr>
      <vt:lpstr>Scenario #2: Child At School    </vt:lpstr>
      <vt:lpstr>Scenario #3: Parent Detained Outside of School Hours  </vt:lpstr>
      <vt:lpstr>Scenario #3: Parent Detained Outside of School Hours    </vt:lpstr>
      <vt:lpstr>Scenario #4: Child Detained Outside of School Hours  </vt:lpstr>
      <vt:lpstr>Scenario #4: Child Detained Outside of School Hours    </vt:lpstr>
      <vt:lpstr>Scenario #5: Student Absenteeism Due to ICE Concerns  </vt:lpstr>
      <vt:lpstr>Scenario #5: Student Absenteeism Concerns  </vt:lpstr>
      <vt:lpstr>Scenario #6: SRO Involvement  </vt:lpstr>
      <vt:lpstr>Scenario #6: SRO Involvement    </vt:lpstr>
      <vt:lpstr>Scenario #6: SRO Involvement     </vt:lpstr>
      <vt:lpstr>Additional Resources</vt:lpstr>
      <vt:lpstr>Community Resource Toolkit for Supporting Immigrant Families</vt:lpstr>
      <vt:lpstr>Legal Representation Fund</vt:lpstr>
      <vt:lpstr>When to Reach Out to ORI or MA AGO CJU</vt:lpstr>
      <vt:lpstr>Immigration Attorney Referral Resources</vt:lpstr>
      <vt:lpstr>Guidance Regarding Public Schools’ Obligations to Protect Students and Their Information</vt:lpstr>
      <vt:lpstr>Know Your Rights Guidance Regarding ICE Enforcement for Immigrants, Families, and Communities</vt:lpstr>
      <vt:lpstr>Additional Resour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I &amp; AGO Know Your Rights 4.0, Q&amp;A on Immigration</dc:title>
  <dc:creator>DESE</dc:creator>
  <cp:lastModifiedBy>Zou, Dong (EOE)</cp:lastModifiedBy>
  <cp:revision>4</cp:revision>
  <cp:lastPrinted>2024-07-25T15:13:39Z</cp:lastPrinted>
  <dcterms:created xsi:type="dcterms:W3CDTF">2021-09-26T22:27:24Z</dcterms:created>
  <dcterms:modified xsi:type="dcterms:W3CDTF">2025-10-27T14:3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Oct 27 2025 12:00AM</vt:lpwstr>
  </property>
</Properties>
</file>